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2" r:id="rId4"/>
  </p:sldMasterIdLst>
  <p:sldIdLst>
    <p:sldId id="260" r:id="rId5"/>
  </p:sldIdLst>
  <p:sldSz cx="6858000" cy="9144000" type="letter"/>
  <p:notesSz cx="6858000" cy="9144000"/>
  <p:custDataLst>
    <p:tags r:id="rId6"/>
  </p:custDataLst>
  <p:defaultTextStyle>
    <a:defPPr>
      <a:defRPr lang="en-US"/>
    </a:defPPr>
    <a:lvl1pPr marL="0" algn="l" defTabSz="806754" rtl="0" eaLnBrk="1" latinLnBrk="0" hangingPunct="1">
      <a:defRPr sz="1588" kern="1200">
        <a:solidFill>
          <a:schemeClr val="tx1"/>
        </a:solidFill>
        <a:latin typeface="+mn-lt"/>
        <a:ea typeface="+mn-ea"/>
        <a:cs typeface="+mn-cs"/>
      </a:defRPr>
    </a:lvl1pPr>
    <a:lvl2pPr marL="403378" algn="l" defTabSz="806754" rtl="0" eaLnBrk="1" latinLnBrk="0" hangingPunct="1">
      <a:defRPr sz="1588" kern="1200">
        <a:solidFill>
          <a:schemeClr val="tx1"/>
        </a:solidFill>
        <a:latin typeface="+mn-lt"/>
        <a:ea typeface="+mn-ea"/>
        <a:cs typeface="+mn-cs"/>
      </a:defRPr>
    </a:lvl2pPr>
    <a:lvl3pPr marL="806754" algn="l" defTabSz="806754" rtl="0" eaLnBrk="1" latinLnBrk="0" hangingPunct="1">
      <a:defRPr sz="1588" kern="1200">
        <a:solidFill>
          <a:schemeClr val="tx1"/>
        </a:solidFill>
        <a:latin typeface="+mn-lt"/>
        <a:ea typeface="+mn-ea"/>
        <a:cs typeface="+mn-cs"/>
      </a:defRPr>
    </a:lvl3pPr>
    <a:lvl4pPr marL="1210132" algn="l" defTabSz="806754" rtl="0" eaLnBrk="1" latinLnBrk="0" hangingPunct="1">
      <a:defRPr sz="1588" kern="1200">
        <a:solidFill>
          <a:schemeClr val="tx1"/>
        </a:solidFill>
        <a:latin typeface="+mn-lt"/>
        <a:ea typeface="+mn-ea"/>
        <a:cs typeface="+mn-cs"/>
      </a:defRPr>
    </a:lvl4pPr>
    <a:lvl5pPr marL="1613510" algn="l" defTabSz="806754" rtl="0" eaLnBrk="1" latinLnBrk="0" hangingPunct="1">
      <a:defRPr sz="1588" kern="1200">
        <a:solidFill>
          <a:schemeClr val="tx1"/>
        </a:solidFill>
        <a:latin typeface="+mn-lt"/>
        <a:ea typeface="+mn-ea"/>
        <a:cs typeface="+mn-cs"/>
      </a:defRPr>
    </a:lvl5pPr>
    <a:lvl6pPr marL="2016888" algn="l" defTabSz="806754" rtl="0" eaLnBrk="1" latinLnBrk="0" hangingPunct="1">
      <a:defRPr sz="1588" kern="1200">
        <a:solidFill>
          <a:schemeClr val="tx1"/>
        </a:solidFill>
        <a:latin typeface="+mn-lt"/>
        <a:ea typeface="+mn-ea"/>
        <a:cs typeface="+mn-cs"/>
      </a:defRPr>
    </a:lvl6pPr>
    <a:lvl7pPr marL="2420265" algn="l" defTabSz="806754" rtl="0" eaLnBrk="1" latinLnBrk="0" hangingPunct="1">
      <a:defRPr sz="1588" kern="1200">
        <a:solidFill>
          <a:schemeClr val="tx1"/>
        </a:solidFill>
        <a:latin typeface="+mn-lt"/>
        <a:ea typeface="+mn-ea"/>
        <a:cs typeface="+mn-cs"/>
      </a:defRPr>
    </a:lvl7pPr>
    <a:lvl8pPr marL="2823643" algn="l" defTabSz="806754" rtl="0" eaLnBrk="1" latinLnBrk="0" hangingPunct="1">
      <a:defRPr sz="1588" kern="1200">
        <a:solidFill>
          <a:schemeClr val="tx1"/>
        </a:solidFill>
        <a:latin typeface="+mn-lt"/>
        <a:ea typeface="+mn-ea"/>
        <a:cs typeface="+mn-cs"/>
      </a:defRPr>
    </a:lvl8pPr>
    <a:lvl9pPr marL="3227019" algn="l" defTabSz="806754" rtl="0" eaLnBrk="1" latinLnBrk="0" hangingPunct="1">
      <a:defRPr sz="1588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880" userDrawn="1">
          <p15:clr>
            <a:srgbClr val="A4A3A4"/>
          </p15:clr>
        </p15:guide>
        <p15:guide id="2" pos="2160" userDrawn="1">
          <p15:clr>
            <a:srgbClr val="A4A3A4"/>
          </p15:clr>
        </p15:guide>
      </p15:sld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528B9243-9313-778F-D71B-142A34B0EC0B}" name="Kelly, Marianna" initials="KM" userId="S::a628736@dsdom1.dsroot.fmr.com::3219e8b6-3b23-4b8b-bd5e-8c85c12a31c2" providerId="AD"/>
  <p188:author id="{AC278147-00FB-07F3-E07E-05D258416DD0}" name="Kelly, Marianna" initials="KM" userId="S::a628736@DSDOM1.DSROOT.FMR.COM::3219e8b6-3b23-4b8b-bd5e-8c85c12a31c2" providerId="AD"/>
  <p188:author id="{83502762-E20C-A638-4A94-02842CE4D53B}" name="Kate McGrady" initials="KM" userId="S::kate.mcgrady@brightcarbon.com::cc6e9620-93cd-4e23-aa2e-dbeb60ce63f6" providerId="AD"/>
  <p188:author id="{503CEE6A-2F4B-0F6E-FF47-A2866353F514}" name="Fargiano, Amanda" initials="FA" userId="S::a698904@fmr.com::1419a7e3-8f1e-4260-a246-a38c13015232" providerId="AD"/>
  <p188:author id="{ED62E374-5BFD-C686-BE19-B85D7E69AF04}" name="Peloquin, Grace" initials="PG" userId="S::a574671@fmr.com::c483635a-cb6b-41ee-b7e1-63924769bd94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A35B47"/>
    <a:srgbClr val="FF8C89"/>
    <a:srgbClr val="FFB4B2"/>
    <a:srgbClr val="D19175"/>
    <a:srgbClr val="8B4E3D"/>
    <a:srgbClr val="D2A374"/>
    <a:srgbClr val="C68C52"/>
    <a:srgbClr val="ED8B00"/>
    <a:srgbClr val="2D821E"/>
    <a:srgbClr val="C9FFC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5D2D9386-3A49-4BC6-A954-9031C91E65FB}" v="16" dt="2023-09-20T17:35:31.706"/>
    <p1510:client id="{9ABB4732-189D-49D9-9488-9E0057B55CFD}" v="20" dt="2023-09-21T15:31:19.982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E8B1032C-EA38-4F05-BA0D-38AFFFC7BED3}" styleName="Light Style 3 - Accent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10A1B5D5-9B99-4C35-A422-299274C87663}" styleName="Medium Style 1 - Acc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6">
              <a:tint val="20000"/>
            </a:schemeClr>
          </a:solidFill>
        </a:fill>
      </a:tcStyle>
    </a:band1H>
    <a:band1V>
      <a:tcStyle>
        <a:tcBdr/>
        <a:fill>
          <a:solidFill>
            <a:schemeClr val="accent6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>
        <p:scale>
          <a:sx n="70" d="100"/>
          <a:sy n="70" d="100"/>
        </p:scale>
        <p:origin x="1680" y="-1252"/>
      </p:cViewPr>
      <p:guideLst>
        <p:guide orient="horz" pos="2880"/>
        <p:guide pos="216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customXml" Target="../customXml/item3.xml"/><Relationship Id="rId7" Type="http://schemas.openxmlformats.org/officeDocument/2006/relationships/presProps" Target="presProps.xml"/><Relationship Id="rId12" Type="http://schemas.microsoft.com/office/2018/10/relationships/authors" Target="author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tags" Target="tags/tag1.xml"/><Relationship Id="rId11" Type="http://schemas.microsoft.com/office/2015/10/relationships/revisionInfo" Target="revisionInfo.xml"/><Relationship Id="rId5" Type="http://schemas.openxmlformats.org/officeDocument/2006/relationships/slide" Target="slides/slide1.xml"/><Relationship Id="rId10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theme" Target="theme/theme1.xml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2 Headlines -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49ABDF3-B79D-7641-92C8-181EEDD5A8C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2134" y="1"/>
            <a:ext cx="6353735" cy="1219824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algn="l" defTabSz="453851" rtl="0" eaLnBrk="1" latinLnBrk="0" hangingPunct="1">
              <a:lnSpc>
                <a:spcPts val="1290"/>
              </a:lnSpc>
              <a:defRPr lang="en-US" sz="1350" kern="1200" dirty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0CE4273-1BC9-094E-91EB-6249D7D6533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sz="45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70C2203-B2C8-CE43-993C-749A6962171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8FE9CA90-F7D2-40A8-8A40-1BA54C13D408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FA167A27-D5F1-4EF4-BCCB-16665C7F746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52134" y="1232649"/>
            <a:ext cx="6353735" cy="786281"/>
          </a:xfrm>
        </p:spPr>
        <p:txBody>
          <a:bodyPr lIns="0">
            <a:normAutofit/>
          </a:bodyPr>
          <a:lstStyle>
            <a:lvl1pPr marL="0" indent="0">
              <a:buNone/>
              <a:defRPr sz="900"/>
            </a:lvl1pPr>
            <a:lvl2pPr marL="257174" indent="0">
              <a:buNone/>
              <a:defRPr sz="9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92822348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1 Headlines -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49ABDF3-B79D-7641-92C8-181EEDD5A8C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2133" y="825560"/>
            <a:ext cx="6167329" cy="1193371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algn="l" defTabSz="453851" rtl="0" eaLnBrk="1" latinLnBrk="0" hangingPunct="1">
              <a:lnSpc>
                <a:spcPts val="1290"/>
              </a:lnSpc>
              <a:defRPr lang="en-US" sz="1350" kern="1200" dirty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0CE4273-1BC9-094E-91EB-6249D7D6533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sz="45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70C2203-B2C8-CE43-993C-749A6962171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8FE9CA90-F7D2-40A8-8A40-1BA54C13D40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554744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2 Headlines - Gra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49ABDF3-B79D-7641-92C8-181EEDD5A8C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2134" y="1"/>
            <a:ext cx="6353735" cy="1219824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algn="l" defTabSz="453851" rtl="0" eaLnBrk="1" latinLnBrk="0" hangingPunct="1">
              <a:lnSpc>
                <a:spcPts val="1290"/>
              </a:lnSpc>
              <a:defRPr lang="en-US" sz="1350" kern="1200" dirty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0CE4273-1BC9-094E-91EB-6249D7D6533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sz="45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70C2203-B2C8-CE43-993C-749A6962171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8FE9CA90-F7D2-40A8-8A40-1BA54C13D40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96495E89-FAB6-4C52-A007-895B06556694}"/>
              </a:ext>
            </a:extLst>
          </p:cNvPr>
          <p:cNvSpPr/>
          <p:nvPr/>
        </p:nvSpPr>
        <p:spPr>
          <a:xfrm>
            <a:off x="0" y="2018932"/>
            <a:ext cx="6858000" cy="589242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893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CB550505-5B21-43BD-93D9-D645D795B57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52134" y="1232649"/>
            <a:ext cx="6353735" cy="786281"/>
          </a:xfrm>
        </p:spPr>
        <p:txBody>
          <a:bodyPr lIns="0">
            <a:normAutofit/>
          </a:bodyPr>
          <a:lstStyle>
            <a:lvl1pPr marL="0" indent="0">
              <a:buNone/>
              <a:defRPr sz="900"/>
            </a:lvl1pPr>
            <a:lvl2pPr marL="257174" indent="0">
              <a:buNone/>
              <a:defRPr sz="9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47200135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2 Headlines - Gray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96495E89-FAB6-4C52-A007-895B06556694}"/>
              </a:ext>
            </a:extLst>
          </p:cNvPr>
          <p:cNvSpPr/>
          <p:nvPr/>
        </p:nvSpPr>
        <p:spPr>
          <a:xfrm>
            <a:off x="0" y="2"/>
            <a:ext cx="6858000" cy="201892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893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49ABDF3-B79D-7641-92C8-181EEDD5A8C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2133" y="1"/>
            <a:ext cx="6167329" cy="1219824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algn="l" defTabSz="453851" rtl="0" eaLnBrk="1" latinLnBrk="0" hangingPunct="1">
              <a:lnSpc>
                <a:spcPts val="1290"/>
              </a:lnSpc>
              <a:defRPr lang="en-US" sz="1350" kern="1200" dirty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0CE4273-1BC9-094E-91EB-6249D7D6533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sz="45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70C2203-B2C8-CE43-993C-749A6962171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8FE9CA90-F7D2-40A8-8A40-1BA54C13D408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E3AE5F31-A08E-4023-8FCE-EEE2BB87D0E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52134" y="1232649"/>
            <a:ext cx="6167501" cy="786281"/>
          </a:xfrm>
        </p:spPr>
        <p:txBody>
          <a:bodyPr lIns="0">
            <a:normAutofit/>
          </a:bodyPr>
          <a:lstStyle>
            <a:lvl1pPr marL="0" indent="0">
              <a:buNone/>
              <a:defRPr sz="900"/>
            </a:lvl1pPr>
            <a:lvl2pPr marL="257174" indent="0">
              <a:buNone/>
              <a:defRPr sz="9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14983710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0425128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51E290CE-09B6-DC48-89C3-DD31229A72E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1488" y="486838"/>
            <a:ext cx="5915025" cy="1767417"/>
          </a:xfrm>
          <a:prstGeom prst="rect">
            <a:avLst/>
          </a:prstGeom>
        </p:spPr>
        <p:txBody>
          <a:bodyPr vert="horz" lIns="91440" tIns="45720" rIns="91440" bIns="45720" rtlCol="0" anchor="b" anchorCtr="0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9202B07-3C25-E04A-BD02-764A2B02897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71488" y="2343158"/>
            <a:ext cx="5915025" cy="580178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361BFFB-4270-6341-AE05-DA9BEB27C69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15694" y="8480148"/>
            <a:ext cx="5028941" cy="486833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lnSpc>
                <a:spcPts val="447"/>
              </a:lnSpc>
              <a:defRPr sz="398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2897490-E12C-B74E-851A-CDAECB4A2A4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" y="8657169"/>
            <a:ext cx="314304" cy="48683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497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FE9CA90-F7D2-40A8-8A40-1BA54C13D408}" type="slidenum">
              <a:rPr lang="en-US" smtClean="0"/>
              <a:t>‹#›</a:t>
            </a:fld>
            <a:endParaRPr lang="en-US"/>
          </a:p>
        </p:txBody>
      </p:sp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26E97F44-0524-0DB8-A06F-2EEBA93CEBC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40632418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347" imgH="348" progId="TCLayout.ActiveDocument.1">
                  <p:embed/>
                </p:oleObj>
              </mc:Choice>
              <mc:Fallback>
                <p:oleObj name="think-cell Slide" r:id="rId8" imgW="347" imgH="348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6E97F44-0524-0DB8-A06F-2EEBA93CEBC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015894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85" r:id="rId5"/>
  </p:sldLayoutIdLst>
  <p:txStyles>
    <p:titleStyle>
      <a:lvl1pPr algn="l" defTabSz="514350" rtl="0" eaLnBrk="1" latinLnBrk="0" hangingPunct="1">
        <a:lnSpc>
          <a:spcPct val="90000"/>
        </a:lnSpc>
        <a:spcBef>
          <a:spcPct val="0"/>
        </a:spcBef>
        <a:buNone/>
        <a:defRPr sz="1192" kern="1200">
          <a:solidFill>
            <a:schemeClr val="tx1"/>
          </a:solidFill>
          <a:latin typeface="+mn-lt"/>
          <a:ea typeface="+mj-ea"/>
          <a:cs typeface="+mj-cs"/>
        </a:defRPr>
      </a:lvl1pPr>
    </p:titleStyle>
    <p:bodyStyle>
      <a:lvl1pPr marL="128588" indent="-128588" algn="l" defTabSz="514350" rtl="0" eaLnBrk="1" latinLnBrk="0" hangingPunct="1">
        <a:lnSpc>
          <a:spcPct val="90000"/>
        </a:lnSpc>
        <a:spcBef>
          <a:spcPts val="563"/>
        </a:spcBef>
        <a:buFont typeface="Arial" panose="020B0604020202020204" pitchFamily="34" charset="0"/>
        <a:buChar char="•"/>
        <a:defRPr sz="893" kern="1200">
          <a:solidFill>
            <a:schemeClr val="tx1"/>
          </a:solidFill>
          <a:latin typeface="+mn-lt"/>
          <a:ea typeface="+mn-ea"/>
          <a:cs typeface="+mn-cs"/>
        </a:defRPr>
      </a:lvl1pPr>
      <a:lvl2pPr marL="385762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794" kern="1200">
          <a:solidFill>
            <a:schemeClr val="tx1"/>
          </a:solidFill>
          <a:latin typeface="+mn-lt"/>
          <a:ea typeface="+mn-ea"/>
          <a:cs typeface="+mn-cs"/>
        </a:defRPr>
      </a:lvl2pPr>
      <a:lvl3pPr marL="642936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695" kern="1200">
          <a:solidFill>
            <a:schemeClr val="tx1"/>
          </a:solidFill>
          <a:latin typeface="+mn-lt"/>
          <a:ea typeface="+mn-ea"/>
          <a:cs typeface="+mn-cs"/>
        </a:defRPr>
      </a:lvl3pPr>
      <a:lvl4pPr marL="900112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695" kern="1200">
          <a:solidFill>
            <a:schemeClr val="tx1"/>
          </a:solidFill>
          <a:latin typeface="+mn-lt"/>
          <a:ea typeface="+mn-ea"/>
          <a:cs typeface="+mn-cs"/>
        </a:defRPr>
      </a:lvl4pPr>
      <a:lvl5pPr marL="1157286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695" kern="1200">
          <a:solidFill>
            <a:schemeClr val="tx1"/>
          </a:solidFill>
          <a:latin typeface="+mn-lt"/>
          <a:ea typeface="+mn-ea"/>
          <a:cs typeface="+mn-cs"/>
        </a:defRPr>
      </a:lvl5pPr>
      <a:lvl6pPr marL="1414461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6pPr>
      <a:lvl7pPr marL="1671635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7pPr>
      <a:lvl8pPr marL="1928811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8pPr>
      <a:lvl9pPr marL="2185985" indent="-128588" algn="l" defTabSz="514350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1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1pPr>
      <a:lvl2pPr marL="257174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2pPr>
      <a:lvl3pPr marL="51435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3pPr>
      <a:lvl4pPr marL="771524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4pPr>
      <a:lvl5pPr marL="1028699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5pPr>
      <a:lvl6pPr marL="1285874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6pPr>
      <a:lvl7pPr marL="1543049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7pPr>
      <a:lvl8pPr marL="1800223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8pPr>
      <a:lvl9pPr marL="2057397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userDrawn="1">
          <p15:clr>
            <a:srgbClr val="F26B43"/>
          </p15:clr>
        </p15:guide>
        <p15:guide id="2" pos="4320" userDrawn="1">
          <p15:clr>
            <a:srgbClr val="F26B43"/>
          </p15:clr>
        </p15:guide>
        <p15:guide id="3" pos="216" userDrawn="1">
          <p15:clr>
            <a:srgbClr val="F26B43"/>
          </p15:clr>
        </p15:guide>
        <p15:guide id="4" pos="1872" userDrawn="1">
          <p15:clr>
            <a:srgbClr val="F26B43"/>
          </p15:clr>
        </p15:guide>
        <p15:guide id="5" pos="2448" userDrawn="1">
          <p15:clr>
            <a:srgbClr val="F26B43"/>
          </p15:clr>
        </p15:guide>
        <p15:guide id="6" pos="4104" userDrawn="1">
          <p15:clr>
            <a:srgbClr val="F26B43"/>
          </p15:clr>
        </p15:guide>
        <p15:guide id="7" orient="horz" userDrawn="1">
          <p15:clr>
            <a:srgbClr val="F26B43"/>
          </p15:clr>
        </p15:guide>
        <p15:guide id="8" orient="horz" pos="5760" userDrawn="1">
          <p15:clr>
            <a:srgbClr val="F26B43"/>
          </p15:clr>
        </p15:guide>
        <p15:guide id="9" orient="horz" pos="216" userDrawn="1">
          <p15:clr>
            <a:srgbClr val="F26B43"/>
          </p15:clr>
        </p15:guide>
        <p15:guide id="10" orient="horz" pos="2592" userDrawn="1">
          <p15:clr>
            <a:srgbClr val="F26B43"/>
          </p15:clr>
        </p15:guide>
        <p15:guide id="11" orient="horz" pos="3168" userDrawn="1">
          <p15:clr>
            <a:srgbClr val="F26B43"/>
          </p15:clr>
        </p15:guide>
        <p15:guide id="12" orient="horz" pos="5544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7" Type="http://schemas.openxmlformats.org/officeDocument/2006/relationships/image" Target="../media/image4.sv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3.xml"/><Relationship Id="rId6" Type="http://schemas.openxmlformats.org/officeDocument/2006/relationships/image" Target="../media/image3.pn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6" name="Group 125">
            <a:extLst>
              <a:ext uri="{FF2B5EF4-FFF2-40B4-BE49-F238E27FC236}">
                <a16:creationId xmlns:a16="http://schemas.microsoft.com/office/drawing/2014/main" id="{139C1ED3-E868-2E9A-40BC-58430C1000DC}"/>
              </a:ext>
            </a:extLst>
          </p:cNvPr>
          <p:cNvGrpSpPr/>
          <p:nvPr/>
        </p:nvGrpSpPr>
        <p:grpSpPr>
          <a:xfrm>
            <a:off x="0" y="4945932"/>
            <a:ext cx="1419552" cy="3329388"/>
            <a:chOff x="0" y="797806"/>
            <a:chExt cx="2583886" cy="6060194"/>
          </a:xfrm>
        </p:grpSpPr>
        <p:sp>
          <p:nvSpPr>
            <p:cNvPr id="127" name="Oval 126">
              <a:extLst>
                <a:ext uri="{FF2B5EF4-FFF2-40B4-BE49-F238E27FC236}">
                  <a16:creationId xmlns:a16="http://schemas.microsoft.com/office/drawing/2014/main" id="{D561D00A-3E70-97E2-65D4-7EB7294DFA2E}"/>
                </a:ext>
              </a:extLst>
            </p:cNvPr>
            <p:cNvSpPr/>
            <p:nvPr/>
          </p:nvSpPr>
          <p:spPr>
            <a:xfrm>
              <a:off x="543705" y="797806"/>
              <a:ext cx="495407" cy="495407"/>
            </a:xfrm>
            <a:prstGeom prst="ellipse">
              <a:avLst/>
            </a:prstGeom>
            <a:solidFill>
              <a:schemeClr val="accent5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400" dirty="0" err="1"/>
            </a:p>
          </p:txBody>
        </p:sp>
        <p:sp>
          <p:nvSpPr>
            <p:cNvPr id="1028" name="Freeform: Shape 1027">
              <a:extLst>
                <a:ext uri="{FF2B5EF4-FFF2-40B4-BE49-F238E27FC236}">
                  <a16:creationId xmlns:a16="http://schemas.microsoft.com/office/drawing/2014/main" id="{91BEBBEF-7161-DEC2-24F7-EC1A4A799136}"/>
                </a:ext>
              </a:extLst>
            </p:cNvPr>
            <p:cNvSpPr/>
            <p:nvPr/>
          </p:nvSpPr>
          <p:spPr>
            <a:xfrm>
              <a:off x="0" y="3307080"/>
              <a:ext cx="2438400" cy="3550920"/>
            </a:xfrm>
            <a:custGeom>
              <a:avLst/>
              <a:gdLst>
                <a:gd name="connsiteX0" fmla="*/ 320040 w 2438400"/>
                <a:gd name="connsiteY0" fmla="*/ 0 h 3550920"/>
                <a:gd name="connsiteX1" fmla="*/ 2438400 w 2438400"/>
                <a:gd name="connsiteY1" fmla="*/ 2118360 h 3550920"/>
                <a:gd name="connsiteX2" fmla="*/ 1954670 w 2438400"/>
                <a:gd name="connsiteY2" fmla="*/ 3465834 h 3550920"/>
                <a:gd name="connsiteX3" fmla="*/ 1877338 w 2438400"/>
                <a:gd name="connsiteY3" fmla="*/ 3550920 h 3550920"/>
                <a:gd name="connsiteX4" fmla="*/ 0 w 2438400"/>
                <a:gd name="connsiteY4" fmla="*/ 3550920 h 3550920"/>
                <a:gd name="connsiteX5" fmla="*/ 0 w 2438400"/>
                <a:gd name="connsiteY5" fmla="*/ 26725 h 3550920"/>
                <a:gd name="connsiteX6" fmla="*/ 103450 w 2438400"/>
                <a:gd name="connsiteY6" fmla="*/ 10937 h 3550920"/>
                <a:gd name="connsiteX7" fmla="*/ 320040 w 2438400"/>
                <a:gd name="connsiteY7" fmla="*/ 0 h 35509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438400" h="3550920">
                  <a:moveTo>
                    <a:pt x="320040" y="0"/>
                  </a:moveTo>
                  <a:cubicBezTo>
                    <a:pt x="1489978" y="0"/>
                    <a:pt x="2438400" y="948422"/>
                    <a:pt x="2438400" y="2118360"/>
                  </a:cubicBezTo>
                  <a:cubicBezTo>
                    <a:pt x="2438400" y="2630208"/>
                    <a:pt x="2256866" y="3099656"/>
                    <a:pt x="1954670" y="3465834"/>
                  </a:cubicBezTo>
                  <a:lnTo>
                    <a:pt x="1877338" y="3550920"/>
                  </a:lnTo>
                  <a:lnTo>
                    <a:pt x="0" y="3550920"/>
                  </a:lnTo>
                  <a:lnTo>
                    <a:pt x="0" y="26725"/>
                  </a:lnTo>
                  <a:lnTo>
                    <a:pt x="103450" y="10937"/>
                  </a:lnTo>
                  <a:cubicBezTo>
                    <a:pt x="174663" y="3705"/>
                    <a:pt x="246919" y="0"/>
                    <a:pt x="320040" y="0"/>
                  </a:cubicBezTo>
                  <a:close/>
                </a:path>
              </a:pathLst>
            </a:custGeom>
            <a:solidFill>
              <a:schemeClr val="accent5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GB" sz="1400" dirty="0" err="1"/>
            </a:p>
          </p:txBody>
        </p:sp>
        <p:sp>
          <p:nvSpPr>
            <p:cNvPr id="1029" name="Oval 1028">
              <a:extLst>
                <a:ext uri="{FF2B5EF4-FFF2-40B4-BE49-F238E27FC236}">
                  <a16:creationId xmlns:a16="http://schemas.microsoft.com/office/drawing/2014/main" id="{AA7B1435-A7A0-3AB2-291A-B49358F3E386}"/>
                </a:ext>
              </a:extLst>
            </p:cNvPr>
            <p:cNvSpPr/>
            <p:nvPr/>
          </p:nvSpPr>
          <p:spPr>
            <a:xfrm>
              <a:off x="2184968" y="2592121"/>
              <a:ext cx="398918" cy="398918"/>
            </a:xfrm>
            <a:prstGeom prst="ellipse">
              <a:avLst/>
            </a:prstGeom>
            <a:solidFill>
              <a:schemeClr val="accent5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400" dirty="0" err="1"/>
            </a:p>
          </p:txBody>
        </p:sp>
        <p:sp>
          <p:nvSpPr>
            <p:cNvPr id="1030" name="Oval 1029">
              <a:extLst>
                <a:ext uri="{FF2B5EF4-FFF2-40B4-BE49-F238E27FC236}">
                  <a16:creationId xmlns:a16="http://schemas.microsoft.com/office/drawing/2014/main" id="{5C223EEF-4FD5-6370-B3FA-A2A1BA75E8C3}"/>
                </a:ext>
              </a:extLst>
            </p:cNvPr>
            <p:cNvSpPr/>
            <p:nvPr/>
          </p:nvSpPr>
          <p:spPr>
            <a:xfrm>
              <a:off x="2444403" y="2230443"/>
              <a:ext cx="137160" cy="137160"/>
            </a:xfrm>
            <a:prstGeom prst="ellipse">
              <a:avLst/>
            </a:prstGeom>
            <a:solidFill>
              <a:schemeClr val="accent5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400" dirty="0" err="1"/>
            </a:p>
          </p:txBody>
        </p:sp>
        <p:sp>
          <p:nvSpPr>
            <p:cNvPr id="1031" name="Oval 1030">
              <a:extLst>
                <a:ext uri="{FF2B5EF4-FFF2-40B4-BE49-F238E27FC236}">
                  <a16:creationId xmlns:a16="http://schemas.microsoft.com/office/drawing/2014/main" id="{DD1B1394-1525-5DC5-62AB-DD6F8CB45423}"/>
                </a:ext>
              </a:extLst>
            </p:cNvPr>
            <p:cNvSpPr/>
            <p:nvPr/>
          </p:nvSpPr>
          <p:spPr>
            <a:xfrm>
              <a:off x="322789" y="1393212"/>
              <a:ext cx="199728" cy="199728"/>
            </a:xfrm>
            <a:prstGeom prst="ellipse">
              <a:avLst/>
            </a:prstGeom>
            <a:solidFill>
              <a:schemeClr val="accent5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400" dirty="0" err="1"/>
            </a:p>
          </p:txBody>
        </p:sp>
      </p:grpSp>
      <p:grpSp>
        <p:nvGrpSpPr>
          <p:cNvPr id="16" name="Group 15">
            <a:extLst>
              <a:ext uri="{FF2B5EF4-FFF2-40B4-BE49-F238E27FC236}">
                <a16:creationId xmlns:a16="http://schemas.microsoft.com/office/drawing/2014/main" id="{C016901E-B724-F1FF-FC78-BCA0B341C1E3}"/>
              </a:ext>
            </a:extLst>
          </p:cNvPr>
          <p:cNvGrpSpPr/>
          <p:nvPr/>
        </p:nvGrpSpPr>
        <p:grpSpPr>
          <a:xfrm>
            <a:off x="278310" y="5275208"/>
            <a:ext cx="1082470" cy="2844733"/>
            <a:chOff x="405114" y="2381441"/>
            <a:chExt cx="1995186" cy="5243353"/>
          </a:xfrm>
        </p:grpSpPr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764C5191-9C00-3F16-D6D0-95AB01C678BA}"/>
                </a:ext>
              </a:extLst>
            </p:cNvPr>
            <p:cNvSpPr/>
            <p:nvPr/>
          </p:nvSpPr>
          <p:spPr>
            <a:xfrm flipH="1">
              <a:off x="765655" y="5465451"/>
              <a:ext cx="1479736" cy="2159343"/>
            </a:xfrm>
            <a:custGeom>
              <a:avLst/>
              <a:gdLst>
                <a:gd name="connsiteX0" fmla="*/ 1064484 w 1181342"/>
                <a:gd name="connsiteY0" fmla="*/ 45946 h 1723904"/>
                <a:gd name="connsiteX1" fmla="*/ 1179349 w 1181342"/>
                <a:gd name="connsiteY1" fmla="*/ 839830 h 1723904"/>
                <a:gd name="connsiteX2" fmla="*/ 1064484 w 1181342"/>
                <a:gd name="connsiteY2" fmla="*/ 1669444 h 1723904"/>
                <a:gd name="connsiteX3" fmla="*/ 114876 w 1181342"/>
                <a:gd name="connsiteY3" fmla="*/ 1669444 h 1723904"/>
                <a:gd name="connsiteX4" fmla="*/ 11 w 1181342"/>
                <a:gd name="connsiteY4" fmla="*/ 807659 h 1723904"/>
                <a:gd name="connsiteX5" fmla="*/ 160822 w 1181342"/>
                <a:gd name="connsiteY5" fmla="*/ 0 h 1723904"/>
                <a:gd name="connsiteX6" fmla="*/ 1064484 w 1181342"/>
                <a:gd name="connsiteY6" fmla="*/ 45946 h 17239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181342" h="1723904">
                  <a:moveTo>
                    <a:pt x="1064484" y="45946"/>
                  </a:moveTo>
                  <a:cubicBezTo>
                    <a:pt x="1118102" y="199128"/>
                    <a:pt x="1194693" y="561610"/>
                    <a:pt x="1179349" y="839830"/>
                  </a:cubicBezTo>
                  <a:cubicBezTo>
                    <a:pt x="1164048" y="1118092"/>
                    <a:pt x="1064484" y="1669444"/>
                    <a:pt x="1064484" y="1669444"/>
                  </a:cubicBezTo>
                  <a:cubicBezTo>
                    <a:pt x="1064484" y="1669444"/>
                    <a:pt x="543734" y="1791981"/>
                    <a:pt x="114876" y="1669444"/>
                  </a:cubicBezTo>
                  <a:cubicBezTo>
                    <a:pt x="114876" y="1669444"/>
                    <a:pt x="-1303" y="1087531"/>
                    <a:pt x="11" y="807659"/>
                  </a:cubicBezTo>
                  <a:cubicBezTo>
                    <a:pt x="1028" y="595222"/>
                    <a:pt x="41422" y="375918"/>
                    <a:pt x="160822" y="0"/>
                  </a:cubicBezTo>
                  <a:cubicBezTo>
                    <a:pt x="306332" y="114865"/>
                    <a:pt x="865357" y="76591"/>
                    <a:pt x="1064484" y="45946"/>
                  </a:cubicBezTo>
                  <a:close/>
                </a:path>
              </a:pathLst>
            </a:custGeom>
            <a:solidFill>
              <a:schemeClr val="accent2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759C5242-4D71-350E-1DC8-3B7434DC2F88}"/>
                </a:ext>
              </a:extLst>
            </p:cNvPr>
            <p:cNvSpPr/>
            <p:nvPr/>
          </p:nvSpPr>
          <p:spPr>
            <a:xfrm flipH="1">
              <a:off x="761410" y="4674968"/>
              <a:ext cx="1312788" cy="1104595"/>
            </a:xfrm>
            <a:custGeom>
              <a:avLst/>
              <a:gdLst>
                <a:gd name="connsiteX0" fmla="*/ 5374 w 1048060"/>
                <a:gd name="connsiteY0" fmla="*/ 691098 h 881850"/>
                <a:gd name="connsiteX1" fmla="*/ 31186 w 1048060"/>
                <a:gd name="connsiteY1" fmla="*/ 309712 h 881850"/>
                <a:gd name="connsiteX2" fmla="*/ 1048061 w 1048060"/>
                <a:gd name="connsiteY2" fmla="*/ 0 h 881850"/>
                <a:gd name="connsiteX3" fmla="*/ 956381 w 1048060"/>
                <a:gd name="connsiteY3" fmla="*/ 771207 h 881850"/>
                <a:gd name="connsiteX4" fmla="*/ 5374 w 1048060"/>
                <a:gd name="connsiteY4" fmla="*/ 691141 h 8818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48060" h="881850">
                  <a:moveTo>
                    <a:pt x="5374" y="691098"/>
                  </a:moveTo>
                  <a:cubicBezTo>
                    <a:pt x="43521" y="587889"/>
                    <a:pt x="31186" y="309712"/>
                    <a:pt x="31186" y="309712"/>
                  </a:cubicBezTo>
                  <a:lnTo>
                    <a:pt x="1048061" y="0"/>
                  </a:lnTo>
                  <a:cubicBezTo>
                    <a:pt x="1048061" y="0"/>
                    <a:pt x="890683" y="369221"/>
                    <a:pt x="956381" y="771207"/>
                  </a:cubicBezTo>
                  <a:cubicBezTo>
                    <a:pt x="796799" y="944225"/>
                    <a:pt x="-76261" y="911927"/>
                    <a:pt x="5374" y="691141"/>
                  </a:cubicBezTo>
                  <a:close/>
                </a:path>
              </a:pathLst>
            </a:custGeom>
            <a:solidFill>
              <a:schemeClr val="accent1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0DBBE937-A520-6009-7FAB-E2C89ACAA128}"/>
                </a:ext>
              </a:extLst>
            </p:cNvPr>
            <p:cNvSpPr/>
            <p:nvPr/>
          </p:nvSpPr>
          <p:spPr>
            <a:xfrm flipH="1">
              <a:off x="405114" y="2655621"/>
              <a:ext cx="394468" cy="1583622"/>
            </a:xfrm>
            <a:custGeom>
              <a:avLst/>
              <a:gdLst>
                <a:gd name="connsiteX0" fmla="*/ 175222 w 314922"/>
                <a:gd name="connsiteY0" fmla="*/ 1264280 h 1264279"/>
                <a:gd name="connsiteX1" fmla="*/ 172171 w 314922"/>
                <a:gd name="connsiteY1" fmla="*/ 1259278 h 1264279"/>
                <a:gd name="connsiteX2" fmla="*/ 301701 w 314922"/>
                <a:gd name="connsiteY2" fmla="*/ 996487 h 1264279"/>
                <a:gd name="connsiteX3" fmla="*/ 219388 w 314922"/>
                <a:gd name="connsiteY3" fmla="*/ 859581 h 1264279"/>
                <a:gd name="connsiteX4" fmla="*/ 170857 w 314922"/>
                <a:gd name="connsiteY4" fmla="*/ 763493 h 1264279"/>
                <a:gd name="connsiteX5" fmla="*/ 174671 w 314922"/>
                <a:gd name="connsiteY5" fmla="*/ 749463 h 1264279"/>
                <a:gd name="connsiteX6" fmla="*/ 184123 w 314922"/>
                <a:gd name="connsiteY6" fmla="*/ 543893 h 1264279"/>
                <a:gd name="connsiteX7" fmla="*/ 146485 w 314922"/>
                <a:gd name="connsiteY7" fmla="*/ 482518 h 1264279"/>
                <a:gd name="connsiteX8" fmla="*/ 105540 w 314922"/>
                <a:gd name="connsiteY8" fmla="*/ 335101 h 1264279"/>
                <a:gd name="connsiteX9" fmla="*/ 0 w 314922"/>
                <a:gd name="connsiteY9" fmla="*/ 4154 h 1264279"/>
                <a:gd name="connsiteX10" fmla="*/ 4154 w 314922"/>
                <a:gd name="connsiteY10" fmla="*/ 0 h 1264279"/>
                <a:gd name="connsiteX11" fmla="*/ 111177 w 314922"/>
                <a:gd name="connsiteY11" fmla="*/ 336754 h 1264279"/>
                <a:gd name="connsiteX12" fmla="*/ 151274 w 314922"/>
                <a:gd name="connsiteY12" fmla="*/ 479085 h 1264279"/>
                <a:gd name="connsiteX13" fmla="*/ 189506 w 314922"/>
                <a:gd name="connsiteY13" fmla="*/ 541477 h 1264279"/>
                <a:gd name="connsiteX14" fmla="*/ 180351 w 314922"/>
                <a:gd name="connsiteY14" fmla="*/ 750989 h 1264279"/>
                <a:gd name="connsiteX15" fmla="*/ 176536 w 314922"/>
                <a:gd name="connsiteY15" fmla="*/ 764976 h 1264279"/>
                <a:gd name="connsiteX16" fmla="*/ 223796 w 314922"/>
                <a:gd name="connsiteY16" fmla="*/ 855639 h 1264279"/>
                <a:gd name="connsiteX17" fmla="*/ 307466 w 314922"/>
                <a:gd name="connsiteY17" fmla="*/ 995215 h 1264279"/>
                <a:gd name="connsiteX18" fmla="*/ 296064 w 314922"/>
                <a:gd name="connsiteY18" fmla="*/ 1145472 h 1264279"/>
                <a:gd name="connsiteX19" fmla="*/ 175222 w 314922"/>
                <a:gd name="connsiteY19" fmla="*/ 1264237 h 12642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314922" h="1264279">
                  <a:moveTo>
                    <a:pt x="175222" y="1264280"/>
                  </a:moveTo>
                  <a:lnTo>
                    <a:pt x="172171" y="1259278"/>
                  </a:lnTo>
                  <a:cubicBezTo>
                    <a:pt x="289028" y="1188367"/>
                    <a:pt x="326581" y="1112242"/>
                    <a:pt x="301701" y="996487"/>
                  </a:cubicBezTo>
                  <a:cubicBezTo>
                    <a:pt x="289197" y="938291"/>
                    <a:pt x="252110" y="896457"/>
                    <a:pt x="219388" y="859581"/>
                  </a:cubicBezTo>
                  <a:cubicBezTo>
                    <a:pt x="188743" y="825037"/>
                    <a:pt x="162252" y="795197"/>
                    <a:pt x="170857" y="763493"/>
                  </a:cubicBezTo>
                  <a:cubicBezTo>
                    <a:pt x="172086" y="758958"/>
                    <a:pt x="173357" y="754295"/>
                    <a:pt x="174671" y="749463"/>
                  </a:cubicBezTo>
                  <a:cubicBezTo>
                    <a:pt x="190947" y="690378"/>
                    <a:pt x="213242" y="609463"/>
                    <a:pt x="184123" y="543893"/>
                  </a:cubicBezTo>
                  <a:cubicBezTo>
                    <a:pt x="174247" y="521598"/>
                    <a:pt x="160133" y="501719"/>
                    <a:pt x="146485" y="482518"/>
                  </a:cubicBezTo>
                  <a:cubicBezTo>
                    <a:pt x="115755" y="439243"/>
                    <a:pt x="86763" y="398340"/>
                    <a:pt x="105540" y="335101"/>
                  </a:cubicBezTo>
                  <a:cubicBezTo>
                    <a:pt x="130675" y="250499"/>
                    <a:pt x="102192" y="105752"/>
                    <a:pt x="0" y="4154"/>
                  </a:cubicBezTo>
                  <a:lnTo>
                    <a:pt x="4154" y="0"/>
                  </a:lnTo>
                  <a:cubicBezTo>
                    <a:pt x="107956" y="103209"/>
                    <a:pt x="136778" y="250542"/>
                    <a:pt x="111177" y="336754"/>
                  </a:cubicBezTo>
                  <a:cubicBezTo>
                    <a:pt x="93206" y="397281"/>
                    <a:pt x="121392" y="437039"/>
                    <a:pt x="151274" y="479085"/>
                  </a:cubicBezTo>
                  <a:cubicBezTo>
                    <a:pt x="165092" y="498540"/>
                    <a:pt x="179376" y="518673"/>
                    <a:pt x="189506" y="541477"/>
                  </a:cubicBezTo>
                  <a:cubicBezTo>
                    <a:pt x="219430" y="608912"/>
                    <a:pt x="196839" y="691014"/>
                    <a:pt x="180351" y="750989"/>
                  </a:cubicBezTo>
                  <a:cubicBezTo>
                    <a:pt x="179037" y="755779"/>
                    <a:pt x="177765" y="760441"/>
                    <a:pt x="176536" y="764976"/>
                  </a:cubicBezTo>
                  <a:cubicBezTo>
                    <a:pt x="168780" y="793629"/>
                    <a:pt x="193067" y="821010"/>
                    <a:pt x="223796" y="855639"/>
                  </a:cubicBezTo>
                  <a:cubicBezTo>
                    <a:pt x="255374" y="891243"/>
                    <a:pt x="294665" y="935494"/>
                    <a:pt x="307466" y="995215"/>
                  </a:cubicBezTo>
                  <a:cubicBezTo>
                    <a:pt x="320266" y="1054979"/>
                    <a:pt x="316663" y="1102705"/>
                    <a:pt x="296064" y="1145472"/>
                  </a:cubicBezTo>
                  <a:cubicBezTo>
                    <a:pt x="275252" y="1188706"/>
                    <a:pt x="235707" y="1227531"/>
                    <a:pt x="175222" y="1264237"/>
                  </a:cubicBezTo>
                  <a:close/>
                </a:path>
              </a:pathLst>
            </a:custGeom>
            <a:solidFill>
              <a:srgbClr val="4D3221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DCC41E48-A2CC-D14F-35BD-BA26EDB302BA}"/>
                </a:ext>
              </a:extLst>
            </p:cNvPr>
            <p:cNvSpPr/>
            <p:nvPr/>
          </p:nvSpPr>
          <p:spPr>
            <a:xfrm flipH="1">
              <a:off x="472944" y="2549492"/>
              <a:ext cx="1618348" cy="1669176"/>
            </a:xfrm>
            <a:custGeom>
              <a:avLst/>
              <a:gdLst>
                <a:gd name="connsiteX0" fmla="*/ 60559 w 1292003"/>
                <a:gd name="connsiteY0" fmla="*/ 1111563 h 1332581"/>
                <a:gd name="connsiteX1" fmla="*/ 64120 w 1292003"/>
                <a:gd name="connsiteY1" fmla="*/ 787694 h 1332581"/>
                <a:gd name="connsiteX2" fmla="*/ 225694 w 1292003"/>
                <a:gd name="connsiteY2" fmla="*/ 568688 h 1332581"/>
                <a:gd name="connsiteX3" fmla="*/ 437283 w 1292003"/>
                <a:gd name="connsiteY3" fmla="*/ 197601 h 1332581"/>
                <a:gd name="connsiteX4" fmla="*/ 986770 w 1292003"/>
                <a:gd name="connsiteY4" fmla="*/ 33908 h 1332581"/>
                <a:gd name="connsiteX5" fmla="*/ 1099135 w 1292003"/>
                <a:gd name="connsiteY5" fmla="*/ 463232 h 1332581"/>
                <a:gd name="connsiteX6" fmla="*/ 1185601 w 1292003"/>
                <a:gd name="connsiteY6" fmla="*/ 708645 h 1332581"/>
                <a:gd name="connsiteX7" fmla="*/ 1189840 w 1292003"/>
                <a:gd name="connsiteY7" fmla="*/ 957279 h 1332581"/>
                <a:gd name="connsiteX8" fmla="*/ 1250367 w 1292003"/>
                <a:gd name="connsiteY8" fmla="*/ 1313234 h 1332581"/>
                <a:gd name="connsiteX9" fmla="*/ 60601 w 1292003"/>
                <a:gd name="connsiteY9" fmla="*/ 1111563 h 13325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292003" h="1332581">
                  <a:moveTo>
                    <a:pt x="60559" y="1111563"/>
                  </a:moveTo>
                  <a:cubicBezTo>
                    <a:pt x="-9928" y="1032260"/>
                    <a:pt x="-31163" y="873101"/>
                    <a:pt x="64120" y="787694"/>
                  </a:cubicBezTo>
                  <a:cubicBezTo>
                    <a:pt x="142321" y="717631"/>
                    <a:pt x="209714" y="691691"/>
                    <a:pt x="225694" y="568688"/>
                  </a:cubicBezTo>
                  <a:cubicBezTo>
                    <a:pt x="256254" y="333023"/>
                    <a:pt x="421897" y="299496"/>
                    <a:pt x="437283" y="197601"/>
                  </a:cubicBezTo>
                  <a:cubicBezTo>
                    <a:pt x="452711" y="95706"/>
                    <a:pt x="866607" y="-72268"/>
                    <a:pt x="986770" y="33908"/>
                  </a:cubicBezTo>
                  <a:cubicBezTo>
                    <a:pt x="1118886" y="150638"/>
                    <a:pt x="1116767" y="376765"/>
                    <a:pt x="1099135" y="463232"/>
                  </a:cubicBezTo>
                  <a:cubicBezTo>
                    <a:pt x="1081502" y="549699"/>
                    <a:pt x="1181193" y="602935"/>
                    <a:pt x="1185601" y="708645"/>
                  </a:cubicBezTo>
                  <a:cubicBezTo>
                    <a:pt x="1190010" y="814355"/>
                    <a:pt x="1084130" y="869160"/>
                    <a:pt x="1189840" y="957279"/>
                  </a:cubicBezTo>
                  <a:cubicBezTo>
                    <a:pt x="1295550" y="1045399"/>
                    <a:pt x="1325262" y="1216298"/>
                    <a:pt x="1250367" y="1313234"/>
                  </a:cubicBezTo>
                  <a:cubicBezTo>
                    <a:pt x="1175471" y="1410128"/>
                    <a:pt x="60601" y="1111563"/>
                    <a:pt x="60601" y="1111563"/>
                  </a:cubicBezTo>
                  <a:close/>
                </a:path>
              </a:pathLst>
            </a:custGeom>
            <a:solidFill>
              <a:srgbClr val="4D3221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F7F12D95-433B-8931-AABC-F0F99CD7F731}"/>
                </a:ext>
              </a:extLst>
            </p:cNvPr>
            <p:cNvSpPr/>
            <p:nvPr/>
          </p:nvSpPr>
          <p:spPr>
            <a:xfrm flipH="1">
              <a:off x="550983" y="3697972"/>
              <a:ext cx="1849317" cy="1382351"/>
            </a:xfrm>
            <a:custGeom>
              <a:avLst/>
              <a:gdLst>
                <a:gd name="connsiteX0" fmla="*/ 1464763 w 1476396"/>
                <a:gd name="connsiteY0" fmla="*/ 617856 h 1103595"/>
                <a:gd name="connsiteX1" fmla="*/ 1462305 w 1476396"/>
                <a:gd name="connsiteY1" fmla="*/ 634132 h 1103595"/>
                <a:gd name="connsiteX2" fmla="*/ 1441536 w 1476396"/>
                <a:gd name="connsiteY2" fmla="*/ 738062 h 1103595"/>
                <a:gd name="connsiteX3" fmla="*/ 1064940 w 1476396"/>
                <a:gd name="connsiteY3" fmla="*/ 658758 h 1103595"/>
                <a:gd name="connsiteX4" fmla="*/ 974149 w 1476396"/>
                <a:gd name="connsiteY4" fmla="*/ 1088209 h 1103595"/>
                <a:gd name="connsiteX5" fmla="*/ 265504 w 1476396"/>
                <a:gd name="connsiteY5" fmla="*/ 1103596 h 1103595"/>
                <a:gd name="connsiteX6" fmla="*/ 294114 w 1476396"/>
                <a:gd name="connsiteY6" fmla="*/ 669736 h 1103595"/>
                <a:gd name="connsiteX7" fmla="*/ 0 w 1476396"/>
                <a:gd name="connsiteY7" fmla="*/ 638879 h 1103595"/>
                <a:gd name="connsiteX8" fmla="*/ 89307 w 1476396"/>
                <a:gd name="connsiteY8" fmla="*/ 229603 h 1103595"/>
                <a:gd name="connsiteX9" fmla="*/ 404232 w 1476396"/>
                <a:gd name="connsiteY9" fmla="*/ 37638 h 1103595"/>
                <a:gd name="connsiteX10" fmla="*/ 425637 w 1476396"/>
                <a:gd name="connsiteY10" fmla="*/ 34460 h 1103595"/>
                <a:gd name="connsiteX11" fmla="*/ 437674 w 1476396"/>
                <a:gd name="connsiteY11" fmla="*/ 32637 h 1103595"/>
                <a:gd name="connsiteX12" fmla="*/ 635488 w 1476396"/>
                <a:gd name="connsiteY12" fmla="*/ 0 h 1103595"/>
                <a:gd name="connsiteX13" fmla="*/ 1015433 w 1476396"/>
                <a:gd name="connsiteY13" fmla="*/ 17844 h 1103595"/>
                <a:gd name="connsiteX14" fmla="*/ 1085158 w 1476396"/>
                <a:gd name="connsiteY14" fmla="*/ 40309 h 1103595"/>
                <a:gd name="connsiteX15" fmla="*/ 1106350 w 1476396"/>
                <a:gd name="connsiteY15" fmla="*/ 47641 h 1103595"/>
                <a:gd name="connsiteX16" fmla="*/ 1379865 w 1476396"/>
                <a:gd name="connsiteY16" fmla="*/ 176409 h 1103595"/>
                <a:gd name="connsiteX17" fmla="*/ 1471757 w 1476396"/>
                <a:gd name="connsiteY17" fmla="*/ 377105 h 1103595"/>
                <a:gd name="connsiteX18" fmla="*/ 1473071 w 1476396"/>
                <a:gd name="connsiteY18" fmla="*/ 389609 h 1103595"/>
                <a:gd name="connsiteX19" fmla="*/ 1464679 w 1476396"/>
                <a:gd name="connsiteY19" fmla="*/ 617771 h 11035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476396" h="1103595">
                  <a:moveTo>
                    <a:pt x="1464763" y="617856"/>
                  </a:moveTo>
                  <a:cubicBezTo>
                    <a:pt x="1464000" y="623281"/>
                    <a:pt x="1463195" y="628749"/>
                    <a:pt x="1462305" y="634132"/>
                  </a:cubicBezTo>
                  <a:cubicBezTo>
                    <a:pt x="1456668" y="670075"/>
                    <a:pt x="1449589" y="705128"/>
                    <a:pt x="1441536" y="738062"/>
                  </a:cubicBezTo>
                  <a:cubicBezTo>
                    <a:pt x="1255972" y="743021"/>
                    <a:pt x="1064940" y="658758"/>
                    <a:pt x="1064940" y="658758"/>
                  </a:cubicBezTo>
                  <a:lnTo>
                    <a:pt x="974149" y="1088209"/>
                  </a:lnTo>
                  <a:lnTo>
                    <a:pt x="265504" y="1103596"/>
                  </a:lnTo>
                  <a:lnTo>
                    <a:pt x="294114" y="669736"/>
                  </a:lnTo>
                  <a:cubicBezTo>
                    <a:pt x="166364" y="691776"/>
                    <a:pt x="0" y="638879"/>
                    <a:pt x="0" y="638879"/>
                  </a:cubicBezTo>
                  <a:cubicBezTo>
                    <a:pt x="0" y="638879"/>
                    <a:pt x="18311" y="367441"/>
                    <a:pt x="89307" y="229603"/>
                  </a:cubicBezTo>
                  <a:cubicBezTo>
                    <a:pt x="162803" y="86975"/>
                    <a:pt x="269912" y="57475"/>
                    <a:pt x="404232" y="37638"/>
                  </a:cubicBezTo>
                  <a:cubicBezTo>
                    <a:pt x="411480" y="36579"/>
                    <a:pt x="418601" y="35519"/>
                    <a:pt x="425637" y="34460"/>
                  </a:cubicBezTo>
                  <a:cubicBezTo>
                    <a:pt x="429706" y="33866"/>
                    <a:pt x="433690" y="33230"/>
                    <a:pt x="437674" y="32637"/>
                  </a:cubicBezTo>
                  <a:cubicBezTo>
                    <a:pt x="554404" y="14920"/>
                    <a:pt x="635488" y="0"/>
                    <a:pt x="635488" y="0"/>
                  </a:cubicBezTo>
                  <a:lnTo>
                    <a:pt x="1015433" y="17844"/>
                  </a:lnTo>
                  <a:cubicBezTo>
                    <a:pt x="1015433" y="17844"/>
                    <a:pt x="1043408" y="26025"/>
                    <a:pt x="1085158" y="40309"/>
                  </a:cubicBezTo>
                  <a:cubicBezTo>
                    <a:pt x="1091855" y="42598"/>
                    <a:pt x="1098975" y="45056"/>
                    <a:pt x="1106350" y="47641"/>
                  </a:cubicBezTo>
                  <a:cubicBezTo>
                    <a:pt x="1187688" y="76337"/>
                    <a:pt x="1305309" y="123130"/>
                    <a:pt x="1379865" y="176409"/>
                  </a:cubicBezTo>
                  <a:cubicBezTo>
                    <a:pt x="1433780" y="214895"/>
                    <a:pt x="1461584" y="289155"/>
                    <a:pt x="1471757" y="377105"/>
                  </a:cubicBezTo>
                  <a:cubicBezTo>
                    <a:pt x="1472266" y="381217"/>
                    <a:pt x="1472690" y="385413"/>
                    <a:pt x="1473071" y="389609"/>
                  </a:cubicBezTo>
                  <a:cubicBezTo>
                    <a:pt x="1479938" y="461283"/>
                    <a:pt x="1475699" y="541180"/>
                    <a:pt x="1464679" y="617771"/>
                  </a:cubicBezTo>
                  <a:close/>
                </a:path>
              </a:pathLst>
            </a:custGeom>
            <a:solidFill>
              <a:schemeClr val="accent1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grpSp>
          <p:nvGrpSpPr>
            <p:cNvPr id="31" name="Graphic 150">
              <a:extLst>
                <a:ext uri="{FF2B5EF4-FFF2-40B4-BE49-F238E27FC236}">
                  <a16:creationId xmlns:a16="http://schemas.microsoft.com/office/drawing/2014/main" id="{B8532DA0-B3AB-B692-BC58-A8D1CBDB1A05}"/>
                </a:ext>
              </a:extLst>
            </p:cNvPr>
            <p:cNvGrpSpPr/>
            <p:nvPr/>
          </p:nvGrpSpPr>
          <p:grpSpPr>
            <a:xfrm flipH="1">
              <a:off x="555041" y="3738959"/>
              <a:ext cx="1823437" cy="2004741"/>
              <a:chOff x="5542824" y="1468281"/>
              <a:chExt cx="1455735" cy="1600478"/>
            </a:xfrm>
            <a:solidFill>
              <a:srgbClr val="F7E3C6"/>
            </a:solidFill>
          </p:grpSpPr>
          <p:sp>
            <p:nvSpPr>
              <p:cNvPr id="1372" name="Freeform: Shape 1371">
                <a:extLst>
                  <a:ext uri="{FF2B5EF4-FFF2-40B4-BE49-F238E27FC236}">
                    <a16:creationId xmlns:a16="http://schemas.microsoft.com/office/drawing/2014/main" id="{F64F1D37-EE02-B7EC-F4A2-189C3BD108EC}"/>
                  </a:ext>
                </a:extLst>
              </p:cNvPr>
              <p:cNvSpPr/>
              <p:nvPr/>
            </p:nvSpPr>
            <p:spPr>
              <a:xfrm>
                <a:off x="5542824" y="1913204"/>
                <a:ext cx="32976" cy="38698"/>
              </a:xfrm>
              <a:custGeom>
                <a:avLst/>
                <a:gdLst>
                  <a:gd name="connsiteX0" fmla="*/ 32934 w 32976"/>
                  <a:gd name="connsiteY0" fmla="*/ 31789 h 38698"/>
                  <a:gd name="connsiteX1" fmla="*/ 26025 w 32976"/>
                  <a:gd name="connsiteY1" fmla="*/ 38698 h 38698"/>
                  <a:gd name="connsiteX2" fmla="*/ 0 w 32976"/>
                  <a:gd name="connsiteY2" fmla="*/ 12673 h 38698"/>
                  <a:gd name="connsiteX3" fmla="*/ 2035 w 32976"/>
                  <a:gd name="connsiteY3" fmla="*/ 0 h 38698"/>
                  <a:gd name="connsiteX4" fmla="*/ 32976 w 32976"/>
                  <a:gd name="connsiteY4" fmla="*/ 31789 h 386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2976" h="38698">
                    <a:moveTo>
                      <a:pt x="32934" y="31789"/>
                    </a:moveTo>
                    <a:lnTo>
                      <a:pt x="26025" y="38698"/>
                    </a:lnTo>
                    <a:lnTo>
                      <a:pt x="0" y="12673"/>
                    </a:lnTo>
                    <a:cubicBezTo>
                      <a:pt x="1144" y="9240"/>
                      <a:pt x="848" y="3476"/>
                      <a:pt x="2035" y="0"/>
                    </a:cubicBezTo>
                    <a:lnTo>
                      <a:pt x="32976" y="31789"/>
                    </a:lnTo>
                    <a:close/>
                  </a:path>
                </a:pathLst>
              </a:custGeom>
              <a:solidFill>
                <a:schemeClr val="accent5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1373" name="Freeform: Shape 1372">
                <a:extLst>
                  <a:ext uri="{FF2B5EF4-FFF2-40B4-BE49-F238E27FC236}">
                    <a16:creationId xmlns:a16="http://schemas.microsoft.com/office/drawing/2014/main" id="{63843339-3B29-CD51-BD5D-0283D92C7573}"/>
                  </a:ext>
                </a:extLst>
              </p:cNvPr>
              <p:cNvSpPr/>
              <p:nvPr/>
            </p:nvSpPr>
            <p:spPr>
              <a:xfrm rot="-2700000">
                <a:off x="5759874" y="1873550"/>
                <a:ext cx="9791" cy="96130"/>
              </a:xfrm>
              <a:custGeom>
                <a:avLst/>
                <a:gdLst>
                  <a:gd name="connsiteX0" fmla="*/ 0 w 9791"/>
                  <a:gd name="connsiteY0" fmla="*/ 0 h 96130"/>
                  <a:gd name="connsiteX1" fmla="*/ 9791 w 9791"/>
                  <a:gd name="connsiteY1" fmla="*/ 0 h 96130"/>
                  <a:gd name="connsiteX2" fmla="*/ 9791 w 9791"/>
                  <a:gd name="connsiteY2" fmla="*/ 96131 h 96130"/>
                  <a:gd name="connsiteX3" fmla="*/ 0 w 9791"/>
                  <a:gd name="connsiteY3" fmla="*/ 96131 h 961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791" h="96130">
                    <a:moveTo>
                      <a:pt x="0" y="0"/>
                    </a:moveTo>
                    <a:lnTo>
                      <a:pt x="9791" y="0"/>
                    </a:lnTo>
                    <a:lnTo>
                      <a:pt x="9791" y="96131"/>
                    </a:lnTo>
                    <a:lnTo>
                      <a:pt x="0" y="96131"/>
                    </a:lnTo>
                    <a:close/>
                  </a:path>
                </a:pathLst>
              </a:custGeom>
              <a:solidFill>
                <a:schemeClr val="accent5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1374" name="Freeform: Shape 1373">
                <a:extLst>
                  <a:ext uri="{FF2B5EF4-FFF2-40B4-BE49-F238E27FC236}">
                    <a16:creationId xmlns:a16="http://schemas.microsoft.com/office/drawing/2014/main" id="{CF35923D-2297-5EA7-37A5-5B1871567BBF}"/>
                  </a:ext>
                </a:extLst>
              </p:cNvPr>
              <p:cNvSpPr/>
              <p:nvPr/>
            </p:nvSpPr>
            <p:spPr>
              <a:xfrm rot="-2700000">
                <a:off x="5596771" y="1798215"/>
                <a:ext cx="105709" cy="9791"/>
              </a:xfrm>
              <a:custGeom>
                <a:avLst/>
                <a:gdLst>
                  <a:gd name="connsiteX0" fmla="*/ 0 w 105709"/>
                  <a:gd name="connsiteY0" fmla="*/ 0 h 9791"/>
                  <a:gd name="connsiteX1" fmla="*/ 105710 w 105709"/>
                  <a:gd name="connsiteY1" fmla="*/ 0 h 9791"/>
                  <a:gd name="connsiteX2" fmla="*/ 105710 w 105709"/>
                  <a:gd name="connsiteY2" fmla="*/ 9791 h 9791"/>
                  <a:gd name="connsiteX3" fmla="*/ 0 w 105709"/>
                  <a:gd name="connsiteY3" fmla="*/ 9791 h 97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05709" h="9791">
                    <a:moveTo>
                      <a:pt x="0" y="0"/>
                    </a:moveTo>
                    <a:lnTo>
                      <a:pt x="105710" y="0"/>
                    </a:lnTo>
                    <a:lnTo>
                      <a:pt x="105710" y="9791"/>
                    </a:lnTo>
                    <a:lnTo>
                      <a:pt x="0" y="9791"/>
                    </a:lnTo>
                    <a:close/>
                  </a:path>
                </a:pathLst>
              </a:custGeom>
              <a:solidFill>
                <a:schemeClr val="accent5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1375" name="Freeform: Shape 1374">
                <a:extLst>
                  <a:ext uri="{FF2B5EF4-FFF2-40B4-BE49-F238E27FC236}">
                    <a16:creationId xmlns:a16="http://schemas.microsoft.com/office/drawing/2014/main" id="{7385AAFF-58D8-D4A1-6C06-BFAD6354AD9E}"/>
                  </a:ext>
                </a:extLst>
              </p:cNvPr>
              <p:cNvSpPr/>
              <p:nvPr/>
            </p:nvSpPr>
            <p:spPr>
              <a:xfrm rot="-2700000">
                <a:off x="5602221" y="2026426"/>
                <a:ext cx="105709" cy="9791"/>
              </a:xfrm>
              <a:custGeom>
                <a:avLst/>
                <a:gdLst>
                  <a:gd name="connsiteX0" fmla="*/ 0 w 105709"/>
                  <a:gd name="connsiteY0" fmla="*/ 0 h 9791"/>
                  <a:gd name="connsiteX1" fmla="*/ 105710 w 105709"/>
                  <a:gd name="connsiteY1" fmla="*/ 0 h 9791"/>
                  <a:gd name="connsiteX2" fmla="*/ 105710 w 105709"/>
                  <a:gd name="connsiteY2" fmla="*/ 9791 h 9791"/>
                  <a:gd name="connsiteX3" fmla="*/ 0 w 105709"/>
                  <a:gd name="connsiteY3" fmla="*/ 9791 h 97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05709" h="9791">
                    <a:moveTo>
                      <a:pt x="0" y="0"/>
                    </a:moveTo>
                    <a:lnTo>
                      <a:pt x="105710" y="0"/>
                    </a:lnTo>
                    <a:lnTo>
                      <a:pt x="105710" y="9791"/>
                    </a:lnTo>
                    <a:lnTo>
                      <a:pt x="0" y="9791"/>
                    </a:lnTo>
                    <a:close/>
                  </a:path>
                </a:pathLst>
              </a:custGeom>
              <a:solidFill>
                <a:schemeClr val="accent5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1376" name="Freeform: Shape 1375">
                <a:extLst>
                  <a:ext uri="{FF2B5EF4-FFF2-40B4-BE49-F238E27FC236}">
                    <a16:creationId xmlns:a16="http://schemas.microsoft.com/office/drawing/2014/main" id="{7C78A530-2247-529A-1B55-02C2833BD2E8}"/>
                  </a:ext>
                </a:extLst>
              </p:cNvPr>
              <p:cNvSpPr/>
              <p:nvPr/>
            </p:nvSpPr>
            <p:spPr>
              <a:xfrm rot="-2700000">
                <a:off x="5983285" y="2098600"/>
                <a:ext cx="9791" cy="96130"/>
              </a:xfrm>
              <a:custGeom>
                <a:avLst/>
                <a:gdLst>
                  <a:gd name="connsiteX0" fmla="*/ 0 w 9791"/>
                  <a:gd name="connsiteY0" fmla="*/ 0 h 96130"/>
                  <a:gd name="connsiteX1" fmla="*/ 9791 w 9791"/>
                  <a:gd name="connsiteY1" fmla="*/ 0 h 96130"/>
                  <a:gd name="connsiteX2" fmla="*/ 9791 w 9791"/>
                  <a:gd name="connsiteY2" fmla="*/ 96131 h 96130"/>
                  <a:gd name="connsiteX3" fmla="*/ 0 w 9791"/>
                  <a:gd name="connsiteY3" fmla="*/ 96131 h 961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791" h="96130">
                    <a:moveTo>
                      <a:pt x="0" y="0"/>
                    </a:moveTo>
                    <a:lnTo>
                      <a:pt x="9791" y="0"/>
                    </a:lnTo>
                    <a:lnTo>
                      <a:pt x="9791" y="96131"/>
                    </a:lnTo>
                    <a:lnTo>
                      <a:pt x="0" y="96131"/>
                    </a:lnTo>
                    <a:close/>
                  </a:path>
                </a:pathLst>
              </a:custGeom>
              <a:solidFill>
                <a:schemeClr val="accent5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1377" name="Freeform: Shape 1376">
                <a:extLst>
                  <a:ext uri="{FF2B5EF4-FFF2-40B4-BE49-F238E27FC236}">
                    <a16:creationId xmlns:a16="http://schemas.microsoft.com/office/drawing/2014/main" id="{F5DD8963-78C7-39BE-ECFA-A88CBB03AA8C}"/>
                  </a:ext>
                </a:extLst>
              </p:cNvPr>
              <p:cNvSpPr/>
              <p:nvPr/>
            </p:nvSpPr>
            <p:spPr>
              <a:xfrm rot="-2700000">
                <a:off x="5820212" y="2023338"/>
                <a:ext cx="105709" cy="9791"/>
              </a:xfrm>
              <a:custGeom>
                <a:avLst/>
                <a:gdLst>
                  <a:gd name="connsiteX0" fmla="*/ 0 w 105709"/>
                  <a:gd name="connsiteY0" fmla="*/ 0 h 9791"/>
                  <a:gd name="connsiteX1" fmla="*/ 105710 w 105709"/>
                  <a:gd name="connsiteY1" fmla="*/ 0 h 9791"/>
                  <a:gd name="connsiteX2" fmla="*/ 105710 w 105709"/>
                  <a:gd name="connsiteY2" fmla="*/ 9791 h 9791"/>
                  <a:gd name="connsiteX3" fmla="*/ 0 w 105709"/>
                  <a:gd name="connsiteY3" fmla="*/ 9791 h 97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05709" h="9791">
                    <a:moveTo>
                      <a:pt x="0" y="0"/>
                    </a:moveTo>
                    <a:lnTo>
                      <a:pt x="105710" y="0"/>
                    </a:lnTo>
                    <a:lnTo>
                      <a:pt x="105710" y="9791"/>
                    </a:lnTo>
                    <a:lnTo>
                      <a:pt x="0" y="9791"/>
                    </a:lnTo>
                    <a:close/>
                  </a:path>
                </a:pathLst>
              </a:custGeom>
              <a:solidFill>
                <a:schemeClr val="accent5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1378" name="Freeform: Shape 1377">
                <a:extLst>
                  <a:ext uri="{FF2B5EF4-FFF2-40B4-BE49-F238E27FC236}">
                    <a16:creationId xmlns:a16="http://schemas.microsoft.com/office/drawing/2014/main" id="{4F5B4CF6-A4A8-226F-FFAD-CCD78B1922B9}"/>
                  </a:ext>
                </a:extLst>
              </p:cNvPr>
              <p:cNvSpPr/>
              <p:nvPr/>
            </p:nvSpPr>
            <p:spPr>
              <a:xfrm rot="-2700000">
                <a:off x="5825674" y="2251433"/>
                <a:ext cx="105709" cy="9791"/>
              </a:xfrm>
              <a:custGeom>
                <a:avLst/>
                <a:gdLst>
                  <a:gd name="connsiteX0" fmla="*/ 0 w 105709"/>
                  <a:gd name="connsiteY0" fmla="*/ 0 h 9791"/>
                  <a:gd name="connsiteX1" fmla="*/ 105710 w 105709"/>
                  <a:gd name="connsiteY1" fmla="*/ 0 h 9791"/>
                  <a:gd name="connsiteX2" fmla="*/ 105710 w 105709"/>
                  <a:gd name="connsiteY2" fmla="*/ 9791 h 9791"/>
                  <a:gd name="connsiteX3" fmla="*/ 0 w 105709"/>
                  <a:gd name="connsiteY3" fmla="*/ 9791 h 97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05709" h="9791">
                    <a:moveTo>
                      <a:pt x="0" y="0"/>
                    </a:moveTo>
                    <a:lnTo>
                      <a:pt x="105710" y="0"/>
                    </a:lnTo>
                    <a:lnTo>
                      <a:pt x="105710" y="9791"/>
                    </a:lnTo>
                    <a:lnTo>
                      <a:pt x="0" y="9791"/>
                    </a:lnTo>
                    <a:close/>
                  </a:path>
                </a:pathLst>
              </a:custGeom>
              <a:solidFill>
                <a:schemeClr val="accent5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1379" name="Freeform: Shape 1378">
                <a:extLst>
                  <a:ext uri="{FF2B5EF4-FFF2-40B4-BE49-F238E27FC236}">
                    <a16:creationId xmlns:a16="http://schemas.microsoft.com/office/drawing/2014/main" id="{2C1E5C44-34DC-6FAE-377B-D35D2830AFF2}"/>
                  </a:ext>
                </a:extLst>
              </p:cNvPr>
              <p:cNvSpPr/>
              <p:nvPr/>
            </p:nvSpPr>
            <p:spPr>
              <a:xfrm rot="-2700000">
                <a:off x="5751415" y="1648409"/>
                <a:ext cx="9791" cy="96130"/>
              </a:xfrm>
              <a:custGeom>
                <a:avLst/>
                <a:gdLst>
                  <a:gd name="connsiteX0" fmla="*/ 0 w 9791"/>
                  <a:gd name="connsiteY0" fmla="*/ 0 h 96130"/>
                  <a:gd name="connsiteX1" fmla="*/ 9791 w 9791"/>
                  <a:gd name="connsiteY1" fmla="*/ 0 h 96130"/>
                  <a:gd name="connsiteX2" fmla="*/ 9791 w 9791"/>
                  <a:gd name="connsiteY2" fmla="*/ 96131 h 96130"/>
                  <a:gd name="connsiteX3" fmla="*/ 0 w 9791"/>
                  <a:gd name="connsiteY3" fmla="*/ 96131 h 961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791" h="96130">
                    <a:moveTo>
                      <a:pt x="0" y="0"/>
                    </a:moveTo>
                    <a:lnTo>
                      <a:pt x="9791" y="0"/>
                    </a:lnTo>
                    <a:lnTo>
                      <a:pt x="9791" y="96131"/>
                    </a:lnTo>
                    <a:lnTo>
                      <a:pt x="0" y="96131"/>
                    </a:lnTo>
                    <a:close/>
                  </a:path>
                </a:pathLst>
              </a:custGeom>
              <a:solidFill>
                <a:schemeClr val="accent5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1380" name="Freeform: Shape 1379">
                <a:extLst>
                  <a:ext uri="{FF2B5EF4-FFF2-40B4-BE49-F238E27FC236}">
                    <a16:creationId xmlns:a16="http://schemas.microsoft.com/office/drawing/2014/main" id="{8E667ACE-9D3B-8B60-05ED-223AA0AE60EF}"/>
                  </a:ext>
                </a:extLst>
              </p:cNvPr>
              <p:cNvSpPr/>
              <p:nvPr/>
            </p:nvSpPr>
            <p:spPr>
              <a:xfrm rot="-2700000">
                <a:off x="5977876" y="1655560"/>
                <a:ext cx="9791" cy="96130"/>
              </a:xfrm>
              <a:custGeom>
                <a:avLst/>
                <a:gdLst>
                  <a:gd name="connsiteX0" fmla="*/ 0 w 9791"/>
                  <a:gd name="connsiteY0" fmla="*/ 0 h 96130"/>
                  <a:gd name="connsiteX1" fmla="*/ 9791 w 9791"/>
                  <a:gd name="connsiteY1" fmla="*/ 0 h 96130"/>
                  <a:gd name="connsiteX2" fmla="*/ 9791 w 9791"/>
                  <a:gd name="connsiteY2" fmla="*/ 96131 h 96130"/>
                  <a:gd name="connsiteX3" fmla="*/ 0 w 9791"/>
                  <a:gd name="connsiteY3" fmla="*/ 96131 h 961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791" h="96130">
                    <a:moveTo>
                      <a:pt x="0" y="0"/>
                    </a:moveTo>
                    <a:lnTo>
                      <a:pt x="9791" y="0"/>
                    </a:lnTo>
                    <a:lnTo>
                      <a:pt x="9791" y="96131"/>
                    </a:lnTo>
                    <a:lnTo>
                      <a:pt x="0" y="96131"/>
                    </a:lnTo>
                    <a:close/>
                  </a:path>
                </a:pathLst>
              </a:custGeom>
              <a:solidFill>
                <a:schemeClr val="accent5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1381" name="Freeform: Shape 1380">
                <a:extLst>
                  <a:ext uri="{FF2B5EF4-FFF2-40B4-BE49-F238E27FC236}">
                    <a16:creationId xmlns:a16="http://schemas.microsoft.com/office/drawing/2014/main" id="{4DD7F825-98AD-B4CA-D824-398DA3E96B60}"/>
                  </a:ext>
                </a:extLst>
              </p:cNvPr>
              <p:cNvSpPr/>
              <p:nvPr/>
            </p:nvSpPr>
            <p:spPr>
              <a:xfrm rot="-2700000">
                <a:off x="5814833" y="1580141"/>
                <a:ext cx="105709" cy="9791"/>
              </a:xfrm>
              <a:custGeom>
                <a:avLst/>
                <a:gdLst>
                  <a:gd name="connsiteX0" fmla="*/ 0 w 105709"/>
                  <a:gd name="connsiteY0" fmla="*/ 0 h 9791"/>
                  <a:gd name="connsiteX1" fmla="*/ 105710 w 105709"/>
                  <a:gd name="connsiteY1" fmla="*/ 0 h 9791"/>
                  <a:gd name="connsiteX2" fmla="*/ 105710 w 105709"/>
                  <a:gd name="connsiteY2" fmla="*/ 9791 h 9791"/>
                  <a:gd name="connsiteX3" fmla="*/ 0 w 105709"/>
                  <a:gd name="connsiteY3" fmla="*/ 9791 h 97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05709" h="9791">
                    <a:moveTo>
                      <a:pt x="0" y="0"/>
                    </a:moveTo>
                    <a:lnTo>
                      <a:pt x="105710" y="0"/>
                    </a:lnTo>
                    <a:lnTo>
                      <a:pt x="105710" y="9791"/>
                    </a:lnTo>
                    <a:lnTo>
                      <a:pt x="0" y="9791"/>
                    </a:lnTo>
                    <a:close/>
                  </a:path>
                </a:pathLst>
              </a:custGeom>
              <a:solidFill>
                <a:schemeClr val="accent5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1382" name="Freeform: Shape 1381">
                <a:extLst>
                  <a:ext uri="{FF2B5EF4-FFF2-40B4-BE49-F238E27FC236}">
                    <a16:creationId xmlns:a16="http://schemas.microsoft.com/office/drawing/2014/main" id="{69010220-F44D-9E99-6F25-4B6108B09E28}"/>
                  </a:ext>
                </a:extLst>
              </p:cNvPr>
              <p:cNvSpPr/>
              <p:nvPr/>
            </p:nvSpPr>
            <p:spPr>
              <a:xfrm rot="-2700000">
                <a:off x="5820265" y="1808309"/>
                <a:ext cx="105709" cy="9791"/>
              </a:xfrm>
              <a:custGeom>
                <a:avLst/>
                <a:gdLst>
                  <a:gd name="connsiteX0" fmla="*/ 0 w 105709"/>
                  <a:gd name="connsiteY0" fmla="*/ 0 h 9791"/>
                  <a:gd name="connsiteX1" fmla="*/ 105710 w 105709"/>
                  <a:gd name="connsiteY1" fmla="*/ 0 h 9791"/>
                  <a:gd name="connsiteX2" fmla="*/ 105710 w 105709"/>
                  <a:gd name="connsiteY2" fmla="*/ 9791 h 9791"/>
                  <a:gd name="connsiteX3" fmla="*/ 0 w 105709"/>
                  <a:gd name="connsiteY3" fmla="*/ 9791 h 97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05709" h="9791">
                    <a:moveTo>
                      <a:pt x="0" y="0"/>
                    </a:moveTo>
                    <a:lnTo>
                      <a:pt x="105710" y="0"/>
                    </a:lnTo>
                    <a:lnTo>
                      <a:pt x="105710" y="9791"/>
                    </a:lnTo>
                    <a:lnTo>
                      <a:pt x="0" y="9791"/>
                    </a:lnTo>
                    <a:close/>
                  </a:path>
                </a:pathLst>
              </a:custGeom>
              <a:solidFill>
                <a:schemeClr val="accent5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1383" name="Freeform: Shape 1382">
                <a:extLst>
                  <a:ext uri="{FF2B5EF4-FFF2-40B4-BE49-F238E27FC236}">
                    <a16:creationId xmlns:a16="http://schemas.microsoft.com/office/drawing/2014/main" id="{7132432F-1BC6-EE3E-FF4F-2E9077D2F704}"/>
                  </a:ext>
                </a:extLst>
              </p:cNvPr>
              <p:cNvSpPr/>
              <p:nvPr/>
            </p:nvSpPr>
            <p:spPr>
              <a:xfrm rot="-2700000">
                <a:off x="5974783" y="1873459"/>
                <a:ext cx="9791" cy="96130"/>
              </a:xfrm>
              <a:custGeom>
                <a:avLst/>
                <a:gdLst>
                  <a:gd name="connsiteX0" fmla="*/ 0 w 9791"/>
                  <a:gd name="connsiteY0" fmla="*/ 0 h 96130"/>
                  <a:gd name="connsiteX1" fmla="*/ 9791 w 9791"/>
                  <a:gd name="connsiteY1" fmla="*/ 0 h 96130"/>
                  <a:gd name="connsiteX2" fmla="*/ 9791 w 9791"/>
                  <a:gd name="connsiteY2" fmla="*/ 96131 h 96130"/>
                  <a:gd name="connsiteX3" fmla="*/ 0 w 9791"/>
                  <a:gd name="connsiteY3" fmla="*/ 96131 h 961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791" h="96130">
                    <a:moveTo>
                      <a:pt x="0" y="0"/>
                    </a:moveTo>
                    <a:lnTo>
                      <a:pt x="9791" y="0"/>
                    </a:lnTo>
                    <a:lnTo>
                      <a:pt x="9791" y="96131"/>
                    </a:lnTo>
                    <a:lnTo>
                      <a:pt x="0" y="96131"/>
                    </a:lnTo>
                    <a:close/>
                  </a:path>
                </a:pathLst>
              </a:custGeom>
              <a:solidFill>
                <a:schemeClr val="accent5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1384" name="Freeform: Shape 1383">
                <a:extLst>
                  <a:ext uri="{FF2B5EF4-FFF2-40B4-BE49-F238E27FC236}">
                    <a16:creationId xmlns:a16="http://schemas.microsoft.com/office/drawing/2014/main" id="{B94F1032-261C-5438-AB1D-10B5393839CB}"/>
                  </a:ext>
                </a:extLst>
              </p:cNvPr>
              <p:cNvSpPr/>
              <p:nvPr/>
            </p:nvSpPr>
            <p:spPr>
              <a:xfrm rot="-2700000">
                <a:off x="6201287" y="1880568"/>
                <a:ext cx="9791" cy="96130"/>
              </a:xfrm>
              <a:custGeom>
                <a:avLst/>
                <a:gdLst>
                  <a:gd name="connsiteX0" fmla="*/ 0 w 9791"/>
                  <a:gd name="connsiteY0" fmla="*/ 0 h 96130"/>
                  <a:gd name="connsiteX1" fmla="*/ 9791 w 9791"/>
                  <a:gd name="connsiteY1" fmla="*/ 0 h 96130"/>
                  <a:gd name="connsiteX2" fmla="*/ 9791 w 9791"/>
                  <a:gd name="connsiteY2" fmla="*/ 96131 h 96130"/>
                  <a:gd name="connsiteX3" fmla="*/ 0 w 9791"/>
                  <a:gd name="connsiteY3" fmla="*/ 96131 h 961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791" h="96130">
                    <a:moveTo>
                      <a:pt x="0" y="0"/>
                    </a:moveTo>
                    <a:lnTo>
                      <a:pt x="9791" y="0"/>
                    </a:lnTo>
                    <a:lnTo>
                      <a:pt x="9791" y="96131"/>
                    </a:lnTo>
                    <a:lnTo>
                      <a:pt x="0" y="96131"/>
                    </a:lnTo>
                    <a:close/>
                  </a:path>
                </a:pathLst>
              </a:custGeom>
              <a:solidFill>
                <a:schemeClr val="accent5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1385" name="Freeform: Shape 1384">
                <a:extLst>
                  <a:ext uri="{FF2B5EF4-FFF2-40B4-BE49-F238E27FC236}">
                    <a16:creationId xmlns:a16="http://schemas.microsoft.com/office/drawing/2014/main" id="{31FFFF7C-5E4D-CC56-B3C3-B3BAC22C99F3}"/>
                  </a:ext>
                </a:extLst>
              </p:cNvPr>
              <p:cNvSpPr/>
              <p:nvPr/>
            </p:nvSpPr>
            <p:spPr>
              <a:xfrm rot="-2700000">
                <a:off x="6038201" y="1805360"/>
                <a:ext cx="105709" cy="9791"/>
              </a:xfrm>
              <a:custGeom>
                <a:avLst/>
                <a:gdLst>
                  <a:gd name="connsiteX0" fmla="*/ 0 w 105709"/>
                  <a:gd name="connsiteY0" fmla="*/ 0 h 9791"/>
                  <a:gd name="connsiteX1" fmla="*/ 105710 w 105709"/>
                  <a:gd name="connsiteY1" fmla="*/ 0 h 9791"/>
                  <a:gd name="connsiteX2" fmla="*/ 105710 w 105709"/>
                  <a:gd name="connsiteY2" fmla="*/ 9791 h 9791"/>
                  <a:gd name="connsiteX3" fmla="*/ 0 w 105709"/>
                  <a:gd name="connsiteY3" fmla="*/ 9791 h 97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05709" h="9791">
                    <a:moveTo>
                      <a:pt x="0" y="0"/>
                    </a:moveTo>
                    <a:lnTo>
                      <a:pt x="105710" y="0"/>
                    </a:lnTo>
                    <a:lnTo>
                      <a:pt x="105710" y="9791"/>
                    </a:lnTo>
                    <a:lnTo>
                      <a:pt x="0" y="9791"/>
                    </a:lnTo>
                    <a:close/>
                  </a:path>
                </a:pathLst>
              </a:custGeom>
              <a:solidFill>
                <a:schemeClr val="accent5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1386" name="Freeform: Shape 1385">
                <a:extLst>
                  <a:ext uri="{FF2B5EF4-FFF2-40B4-BE49-F238E27FC236}">
                    <a16:creationId xmlns:a16="http://schemas.microsoft.com/office/drawing/2014/main" id="{6A18A6E6-F551-9471-4E5A-233AEA1A8687}"/>
                  </a:ext>
                </a:extLst>
              </p:cNvPr>
              <p:cNvSpPr/>
              <p:nvPr/>
            </p:nvSpPr>
            <p:spPr>
              <a:xfrm rot="-2700000">
                <a:off x="6043633" y="2033443"/>
                <a:ext cx="105709" cy="9791"/>
              </a:xfrm>
              <a:custGeom>
                <a:avLst/>
                <a:gdLst>
                  <a:gd name="connsiteX0" fmla="*/ 0 w 105709"/>
                  <a:gd name="connsiteY0" fmla="*/ 0 h 9791"/>
                  <a:gd name="connsiteX1" fmla="*/ 105710 w 105709"/>
                  <a:gd name="connsiteY1" fmla="*/ 0 h 9791"/>
                  <a:gd name="connsiteX2" fmla="*/ 105710 w 105709"/>
                  <a:gd name="connsiteY2" fmla="*/ 9791 h 9791"/>
                  <a:gd name="connsiteX3" fmla="*/ 0 w 105709"/>
                  <a:gd name="connsiteY3" fmla="*/ 9791 h 97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05709" h="9791">
                    <a:moveTo>
                      <a:pt x="0" y="0"/>
                    </a:moveTo>
                    <a:lnTo>
                      <a:pt x="105710" y="0"/>
                    </a:lnTo>
                    <a:lnTo>
                      <a:pt x="105710" y="9791"/>
                    </a:lnTo>
                    <a:lnTo>
                      <a:pt x="0" y="9791"/>
                    </a:lnTo>
                    <a:close/>
                  </a:path>
                </a:pathLst>
              </a:custGeom>
              <a:solidFill>
                <a:schemeClr val="accent5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1387" name="Freeform: Shape 1386">
                <a:extLst>
                  <a:ext uri="{FF2B5EF4-FFF2-40B4-BE49-F238E27FC236}">
                    <a16:creationId xmlns:a16="http://schemas.microsoft.com/office/drawing/2014/main" id="{2309724A-5209-03AD-2594-E01F3794A2E9}"/>
                  </a:ext>
                </a:extLst>
              </p:cNvPr>
              <p:cNvSpPr/>
              <p:nvPr/>
            </p:nvSpPr>
            <p:spPr>
              <a:xfrm>
                <a:off x="5951040" y="1468281"/>
                <a:ext cx="56711" cy="51583"/>
              </a:xfrm>
              <a:custGeom>
                <a:avLst/>
                <a:gdLst>
                  <a:gd name="connsiteX0" fmla="*/ 56712 w 56711"/>
                  <a:gd name="connsiteY0" fmla="*/ 44675 h 51583"/>
                  <a:gd name="connsiteX1" fmla="*/ 49803 w 56711"/>
                  <a:gd name="connsiteY1" fmla="*/ 51583 h 51583"/>
                  <a:gd name="connsiteX2" fmla="*/ 0 w 56711"/>
                  <a:gd name="connsiteY2" fmla="*/ 1823 h 51583"/>
                  <a:gd name="connsiteX3" fmla="*/ 12038 w 56711"/>
                  <a:gd name="connsiteY3" fmla="*/ 0 h 51583"/>
                  <a:gd name="connsiteX4" fmla="*/ 56670 w 56711"/>
                  <a:gd name="connsiteY4" fmla="*/ 44675 h 515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6711" h="51583">
                    <a:moveTo>
                      <a:pt x="56712" y="44675"/>
                    </a:moveTo>
                    <a:lnTo>
                      <a:pt x="49803" y="51583"/>
                    </a:lnTo>
                    <a:lnTo>
                      <a:pt x="0" y="1823"/>
                    </a:lnTo>
                    <a:cubicBezTo>
                      <a:pt x="4069" y="1229"/>
                      <a:pt x="8053" y="593"/>
                      <a:pt x="12038" y="0"/>
                    </a:cubicBezTo>
                    <a:lnTo>
                      <a:pt x="56670" y="44675"/>
                    </a:lnTo>
                    <a:close/>
                  </a:path>
                </a:pathLst>
              </a:custGeom>
              <a:solidFill>
                <a:schemeClr val="accent5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1388" name="Freeform: Shape 1387">
                <a:extLst>
                  <a:ext uri="{FF2B5EF4-FFF2-40B4-BE49-F238E27FC236}">
                    <a16:creationId xmlns:a16="http://schemas.microsoft.com/office/drawing/2014/main" id="{E3431FD0-E7E2-4130-8ED3-9676F8F518E2}"/>
                  </a:ext>
                </a:extLst>
              </p:cNvPr>
              <p:cNvSpPr/>
              <p:nvPr/>
            </p:nvSpPr>
            <p:spPr>
              <a:xfrm rot="-2700000">
                <a:off x="6034300" y="1594258"/>
                <a:ext cx="105709" cy="9791"/>
              </a:xfrm>
              <a:custGeom>
                <a:avLst/>
                <a:gdLst>
                  <a:gd name="connsiteX0" fmla="*/ 0 w 105709"/>
                  <a:gd name="connsiteY0" fmla="*/ 0 h 9791"/>
                  <a:gd name="connsiteX1" fmla="*/ 105710 w 105709"/>
                  <a:gd name="connsiteY1" fmla="*/ 0 h 9791"/>
                  <a:gd name="connsiteX2" fmla="*/ 105710 w 105709"/>
                  <a:gd name="connsiteY2" fmla="*/ 9791 h 9791"/>
                  <a:gd name="connsiteX3" fmla="*/ 0 w 105709"/>
                  <a:gd name="connsiteY3" fmla="*/ 9791 h 97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05709" h="9791">
                    <a:moveTo>
                      <a:pt x="0" y="0"/>
                    </a:moveTo>
                    <a:lnTo>
                      <a:pt x="105710" y="0"/>
                    </a:lnTo>
                    <a:lnTo>
                      <a:pt x="105710" y="9791"/>
                    </a:lnTo>
                    <a:lnTo>
                      <a:pt x="0" y="9791"/>
                    </a:lnTo>
                    <a:close/>
                  </a:path>
                </a:pathLst>
              </a:custGeom>
              <a:solidFill>
                <a:schemeClr val="accent5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1389" name="Freeform: Shape 1388">
                <a:extLst>
                  <a:ext uri="{FF2B5EF4-FFF2-40B4-BE49-F238E27FC236}">
                    <a16:creationId xmlns:a16="http://schemas.microsoft.com/office/drawing/2014/main" id="{15C29266-0F45-A607-251F-AD3BB9E865FB}"/>
                  </a:ext>
                </a:extLst>
              </p:cNvPr>
              <p:cNvSpPr/>
              <p:nvPr/>
            </p:nvSpPr>
            <p:spPr>
              <a:xfrm rot="-2700000">
                <a:off x="6188831" y="1659438"/>
                <a:ext cx="9791" cy="96130"/>
              </a:xfrm>
              <a:custGeom>
                <a:avLst/>
                <a:gdLst>
                  <a:gd name="connsiteX0" fmla="*/ 0 w 9791"/>
                  <a:gd name="connsiteY0" fmla="*/ 0 h 96130"/>
                  <a:gd name="connsiteX1" fmla="*/ 9791 w 9791"/>
                  <a:gd name="connsiteY1" fmla="*/ 0 h 96130"/>
                  <a:gd name="connsiteX2" fmla="*/ 9791 w 9791"/>
                  <a:gd name="connsiteY2" fmla="*/ 96131 h 96130"/>
                  <a:gd name="connsiteX3" fmla="*/ 0 w 9791"/>
                  <a:gd name="connsiteY3" fmla="*/ 96131 h 961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791" h="96130">
                    <a:moveTo>
                      <a:pt x="0" y="0"/>
                    </a:moveTo>
                    <a:lnTo>
                      <a:pt x="9791" y="0"/>
                    </a:lnTo>
                    <a:lnTo>
                      <a:pt x="9791" y="96131"/>
                    </a:lnTo>
                    <a:lnTo>
                      <a:pt x="0" y="96131"/>
                    </a:lnTo>
                    <a:close/>
                  </a:path>
                </a:pathLst>
              </a:custGeom>
              <a:solidFill>
                <a:schemeClr val="accent5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1390" name="Freeform: Shape 1389">
                <a:extLst>
                  <a:ext uri="{FF2B5EF4-FFF2-40B4-BE49-F238E27FC236}">
                    <a16:creationId xmlns:a16="http://schemas.microsoft.com/office/drawing/2014/main" id="{7730C5A0-527D-8D6A-D5FC-9AD39E320CD5}"/>
                  </a:ext>
                </a:extLst>
              </p:cNvPr>
              <p:cNvSpPr/>
              <p:nvPr/>
            </p:nvSpPr>
            <p:spPr>
              <a:xfrm rot="-2700000">
                <a:off x="6415292" y="1666589"/>
                <a:ext cx="9791" cy="96130"/>
              </a:xfrm>
              <a:custGeom>
                <a:avLst/>
                <a:gdLst>
                  <a:gd name="connsiteX0" fmla="*/ 0 w 9791"/>
                  <a:gd name="connsiteY0" fmla="*/ 0 h 96130"/>
                  <a:gd name="connsiteX1" fmla="*/ 9791 w 9791"/>
                  <a:gd name="connsiteY1" fmla="*/ 0 h 96130"/>
                  <a:gd name="connsiteX2" fmla="*/ 9791 w 9791"/>
                  <a:gd name="connsiteY2" fmla="*/ 96131 h 96130"/>
                  <a:gd name="connsiteX3" fmla="*/ 0 w 9791"/>
                  <a:gd name="connsiteY3" fmla="*/ 96131 h 961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791" h="96130">
                    <a:moveTo>
                      <a:pt x="0" y="0"/>
                    </a:moveTo>
                    <a:lnTo>
                      <a:pt x="9791" y="0"/>
                    </a:lnTo>
                    <a:lnTo>
                      <a:pt x="9791" y="96131"/>
                    </a:lnTo>
                    <a:lnTo>
                      <a:pt x="0" y="96131"/>
                    </a:lnTo>
                    <a:close/>
                  </a:path>
                </a:pathLst>
              </a:custGeom>
              <a:solidFill>
                <a:schemeClr val="accent5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1391" name="Freeform: Shape 1390">
                <a:extLst>
                  <a:ext uri="{FF2B5EF4-FFF2-40B4-BE49-F238E27FC236}">
                    <a16:creationId xmlns:a16="http://schemas.microsoft.com/office/drawing/2014/main" id="{F22B38E7-8A3A-FAD5-F087-7FE0D41E52F8}"/>
                  </a:ext>
                </a:extLst>
              </p:cNvPr>
              <p:cNvSpPr/>
              <p:nvPr/>
            </p:nvSpPr>
            <p:spPr>
              <a:xfrm rot="-2700000">
                <a:off x="6257638" y="1819423"/>
                <a:ext cx="105709" cy="9791"/>
              </a:xfrm>
              <a:custGeom>
                <a:avLst/>
                <a:gdLst>
                  <a:gd name="connsiteX0" fmla="*/ 0 w 105709"/>
                  <a:gd name="connsiteY0" fmla="*/ 0 h 9791"/>
                  <a:gd name="connsiteX1" fmla="*/ 105710 w 105709"/>
                  <a:gd name="connsiteY1" fmla="*/ 0 h 9791"/>
                  <a:gd name="connsiteX2" fmla="*/ 105710 w 105709"/>
                  <a:gd name="connsiteY2" fmla="*/ 9791 h 9791"/>
                  <a:gd name="connsiteX3" fmla="*/ 0 w 105709"/>
                  <a:gd name="connsiteY3" fmla="*/ 9791 h 97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05709" h="9791">
                    <a:moveTo>
                      <a:pt x="0" y="0"/>
                    </a:moveTo>
                    <a:lnTo>
                      <a:pt x="105710" y="0"/>
                    </a:lnTo>
                    <a:lnTo>
                      <a:pt x="105710" y="9791"/>
                    </a:lnTo>
                    <a:lnTo>
                      <a:pt x="0" y="9791"/>
                    </a:lnTo>
                    <a:close/>
                  </a:path>
                </a:pathLst>
              </a:custGeom>
              <a:solidFill>
                <a:schemeClr val="accent5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1392" name="Freeform: Shape 1391">
                <a:extLst>
                  <a:ext uri="{FF2B5EF4-FFF2-40B4-BE49-F238E27FC236}">
                    <a16:creationId xmlns:a16="http://schemas.microsoft.com/office/drawing/2014/main" id="{CA8FCA9E-D900-0F2A-4699-8AA8B7F44401}"/>
                  </a:ext>
                </a:extLst>
              </p:cNvPr>
              <p:cNvSpPr/>
              <p:nvPr/>
            </p:nvSpPr>
            <p:spPr>
              <a:xfrm>
                <a:off x="6610603" y="1475953"/>
                <a:ext cx="65062" cy="58110"/>
              </a:xfrm>
              <a:custGeom>
                <a:avLst/>
                <a:gdLst>
                  <a:gd name="connsiteX0" fmla="*/ 65062 w 65062"/>
                  <a:gd name="connsiteY0" fmla="*/ 51202 h 58110"/>
                  <a:gd name="connsiteX1" fmla="*/ 58111 w 65062"/>
                  <a:gd name="connsiteY1" fmla="*/ 58111 h 58110"/>
                  <a:gd name="connsiteX2" fmla="*/ 0 w 65062"/>
                  <a:gd name="connsiteY2" fmla="*/ 0 h 58110"/>
                  <a:gd name="connsiteX3" fmla="*/ 21193 w 65062"/>
                  <a:gd name="connsiteY3" fmla="*/ 7333 h 58110"/>
                  <a:gd name="connsiteX4" fmla="*/ 65062 w 65062"/>
                  <a:gd name="connsiteY4" fmla="*/ 51202 h 581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5062" h="58110">
                    <a:moveTo>
                      <a:pt x="65062" y="51202"/>
                    </a:moveTo>
                    <a:lnTo>
                      <a:pt x="58111" y="58111"/>
                    </a:lnTo>
                    <a:lnTo>
                      <a:pt x="0" y="0"/>
                    </a:lnTo>
                    <a:cubicBezTo>
                      <a:pt x="6697" y="2289"/>
                      <a:pt x="13818" y="4747"/>
                      <a:pt x="21193" y="7333"/>
                    </a:cubicBezTo>
                    <a:lnTo>
                      <a:pt x="65062" y="51202"/>
                    </a:lnTo>
                    <a:close/>
                  </a:path>
                </a:pathLst>
              </a:custGeom>
              <a:solidFill>
                <a:schemeClr val="accent5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1393" name="Freeform: Shape 1392">
                <a:extLst>
                  <a:ext uri="{FF2B5EF4-FFF2-40B4-BE49-F238E27FC236}">
                    <a16:creationId xmlns:a16="http://schemas.microsoft.com/office/drawing/2014/main" id="{53EE1F8F-5C4B-1D7A-3947-30CA0E396424}"/>
                  </a:ext>
                </a:extLst>
              </p:cNvPr>
              <p:cNvSpPr/>
              <p:nvPr/>
            </p:nvSpPr>
            <p:spPr>
              <a:xfrm rot="-2700000">
                <a:off x="6475700" y="1601433"/>
                <a:ext cx="105709" cy="9791"/>
              </a:xfrm>
              <a:custGeom>
                <a:avLst/>
                <a:gdLst>
                  <a:gd name="connsiteX0" fmla="*/ 0 w 105709"/>
                  <a:gd name="connsiteY0" fmla="*/ 0 h 9791"/>
                  <a:gd name="connsiteX1" fmla="*/ 105710 w 105709"/>
                  <a:gd name="connsiteY1" fmla="*/ 0 h 9791"/>
                  <a:gd name="connsiteX2" fmla="*/ 105710 w 105709"/>
                  <a:gd name="connsiteY2" fmla="*/ 9791 h 9791"/>
                  <a:gd name="connsiteX3" fmla="*/ 0 w 105709"/>
                  <a:gd name="connsiteY3" fmla="*/ 9791 h 97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05709" h="9791">
                    <a:moveTo>
                      <a:pt x="0" y="0"/>
                    </a:moveTo>
                    <a:lnTo>
                      <a:pt x="105710" y="0"/>
                    </a:lnTo>
                    <a:lnTo>
                      <a:pt x="105710" y="9791"/>
                    </a:lnTo>
                    <a:lnTo>
                      <a:pt x="0" y="9791"/>
                    </a:lnTo>
                    <a:close/>
                  </a:path>
                </a:pathLst>
              </a:custGeom>
              <a:solidFill>
                <a:schemeClr val="accent5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1394" name="Freeform: Shape 1393">
                <a:extLst>
                  <a:ext uri="{FF2B5EF4-FFF2-40B4-BE49-F238E27FC236}">
                    <a16:creationId xmlns:a16="http://schemas.microsoft.com/office/drawing/2014/main" id="{BDB3115F-5871-454F-F595-116A09817896}"/>
                  </a:ext>
                </a:extLst>
              </p:cNvPr>
              <p:cNvSpPr/>
              <p:nvPr/>
            </p:nvSpPr>
            <p:spPr>
              <a:xfrm rot="-2700000">
                <a:off x="5992901" y="2322619"/>
                <a:ext cx="9791" cy="96130"/>
              </a:xfrm>
              <a:custGeom>
                <a:avLst/>
                <a:gdLst>
                  <a:gd name="connsiteX0" fmla="*/ 0 w 9791"/>
                  <a:gd name="connsiteY0" fmla="*/ 0 h 96130"/>
                  <a:gd name="connsiteX1" fmla="*/ 9791 w 9791"/>
                  <a:gd name="connsiteY1" fmla="*/ 0 h 96130"/>
                  <a:gd name="connsiteX2" fmla="*/ 9791 w 9791"/>
                  <a:gd name="connsiteY2" fmla="*/ 96131 h 96130"/>
                  <a:gd name="connsiteX3" fmla="*/ 0 w 9791"/>
                  <a:gd name="connsiteY3" fmla="*/ 96131 h 961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791" h="96130">
                    <a:moveTo>
                      <a:pt x="0" y="0"/>
                    </a:moveTo>
                    <a:lnTo>
                      <a:pt x="9791" y="0"/>
                    </a:lnTo>
                    <a:lnTo>
                      <a:pt x="9791" y="96131"/>
                    </a:lnTo>
                    <a:lnTo>
                      <a:pt x="0" y="96131"/>
                    </a:lnTo>
                    <a:close/>
                  </a:path>
                </a:pathLst>
              </a:custGeom>
              <a:solidFill>
                <a:schemeClr val="accent5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1395" name="Freeform: Shape 1394">
                <a:extLst>
                  <a:ext uri="{FF2B5EF4-FFF2-40B4-BE49-F238E27FC236}">
                    <a16:creationId xmlns:a16="http://schemas.microsoft.com/office/drawing/2014/main" id="{C95FAA7F-F839-EC02-9AD4-5986A91F86D4}"/>
                  </a:ext>
                </a:extLst>
              </p:cNvPr>
              <p:cNvSpPr/>
              <p:nvPr/>
            </p:nvSpPr>
            <p:spPr>
              <a:xfrm rot="-2700000">
                <a:off x="6219362" y="2329770"/>
                <a:ext cx="9791" cy="96130"/>
              </a:xfrm>
              <a:custGeom>
                <a:avLst/>
                <a:gdLst>
                  <a:gd name="connsiteX0" fmla="*/ 0 w 9791"/>
                  <a:gd name="connsiteY0" fmla="*/ 0 h 96130"/>
                  <a:gd name="connsiteX1" fmla="*/ 9791 w 9791"/>
                  <a:gd name="connsiteY1" fmla="*/ 0 h 96130"/>
                  <a:gd name="connsiteX2" fmla="*/ 9791 w 9791"/>
                  <a:gd name="connsiteY2" fmla="*/ 96131 h 96130"/>
                  <a:gd name="connsiteX3" fmla="*/ 0 w 9791"/>
                  <a:gd name="connsiteY3" fmla="*/ 96131 h 961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791" h="96130">
                    <a:moveTo>
                      <a:pt x="0" y="0"/>
                    </a:moveTo>
                    <a:lnTo>
                      <a:pt x="9791" y="0"/>
                    </a:lnTo>
                    <a:lnTo>
                      <a:pt x="9791" y="96131"/>
                    </a:lnTo>
                    <a:lnTo>
                      <a:pt x="0" y="96131"/>
                    </a:lnTo>
                    <a:close/>
                  </a:path>
                </a:pathLst>
              </a:custGeom>
              <a:solidFill>
                <a:schemeClr val="accent5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1396" name="Freeform: Shape 1395">
                <a:extLst>
                  <a:ext uri="{FF2B5EF4-FFF2-40B4-BE49-F238E27FC236}">
                    <a16:creationId xmlns:a16="http://schemas.microsoft.com/office/drawing/2014/main" id="{25F2A765-8DFE-12E8-AACF-BA232055753E}"/>
                  </a:ext>
                </a:extLst>
              </p:cNvPr>
              <p:cNvSpPr/>
              <p:nvPr/>
            </p:nvSpPr>
            <p:spPr>
              <a:xfrm rot="-2700000">
                <a:off x="5839783" y="2470928"/>
                <a:ext cx="105709" cy="9791"/>
              </a:xfrm>
              <a:custGeom>
                <a:avLst/>
                <a:gdLst>
                  <a:gd name="connsiteX0" fmla="*/ 0 w 105709"/>
                  <a:gd name="connsiteY0" fmla="*/ 0 h 9791"/>
                  <a:gd name="connsiteX1" fmla="*/ 105710 w 105709"/>
                  <a:gd name="connsiteY1" fmla="*/ 0 h 9791"/>
                  <a:gd name="connsiteX2" fmla="*/ 105710 w 105709"/>
                  <a:gd name="connsiteY2" fmla="*/ 9791 h 9791"/>
                  <a:gd name="connsiteX3" fmla="*/ 0 w 105709"/>
                  <a:gd name="connsiteY3" fmla="*/ 9791 h 97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05709" h="9791">
                    <a:moveTo>
                      <a:pt x="0" y="0"/>
                    </a:moveTo>
                    <a:lnTo>
                      <a:pt x="105710" y="0"/>
                    </a:lnTo>
                    <a:lnTo>
                      <a:pt x="105710" y="9791"/>
                    </a:lnTo>
                    <a:lnTo>
                      <a:pt x="0" y="9791"/>
                    </a:lnTo>
                    <a:close/>
                  </a:path>
                </a:pathLst>
              </a:custGeom>
              <a:solidFill>
                <a:schemeClr val="accent5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1397" name="Freeform: Shape 1396">
                <a:extLst>
                  <a:ext uri="{FF2B5EF4-FFF2-40B4-BE49-F238E27FC236}">
                    <a16:creationId xmlns:a16="http://schemas.microsoft.com/office/drawing/2014/main" id="{F0471277-50B2-D6BA-9CB9-AF3F01435E2B}"/>
                  </a:ext>
                </a:extLst>
              </p:cNvPr>
              <p:cNvSpPr/>
              <p:nvPr/>
            </p:nvSpPr>
            <p:spPr>
              <a:xfrm rot="-2700000">
                <a:off x="6056289" y="2254406"/>
                <a:ext cx="105709" cy="9791"/>
              </a:xfrm>
              <a:custGeom>
                <a:avLst/>
                <a:gdLst>
                  <a:gd name="connsiteX0" fmla="*/ 0 w 105709"/>
                  <a:gd name="connsiteY0" fmla="*/ 0 h 9791"/>
                  <a:gd name="connsiteX1" fmla="*/ 105710 w 105709"/>
                  <a:gd name="connsiteY1" fmla="*/ 0 h 9791"/>
                  <a:gd name="connsiteX2" fmla="*/ 105710 w 105709"/>
                  <a:gd name="connsiteY2" fmla="*/ 9791 h 9791"/>
                  <a:gd name="connsiteX3" fmla="*/ 0 w 105709"/>
                  <a:gd name="connsiteY3" fmla="*/ 9791 h 97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05709" h="9791">
                    <a:moveTo>
                      <a:pt x="0" y="0"/>
                    </a:moveTo>
                    <a:lnTo>
                      <a:pt x="105710" y="0"/>
                    </a:lnTo>
                    <a:lnTo>
                      <a:pt x="105710" y="9791"/>
                    </a:lnTo>
                    <a:lnTo>
                      <a:pt x="0" y="9791"/>
                    </a:lnTo>
                    <a:close/>
                  </a:path>
                </a:pathLst>
              </a:custGeom>
              <a:solidFill>
                <a:schemeClr val="accent5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1398" name="Freeform: Shape 1397">
                <a:extLst>
                  <a:ext uri="{FF2B5EF4-FFF2-40B4-BE49-F238E27FC236}">
                    <a16:creationId xmlns:a16="http://schemas.microsoft.com/office/drawing/2014/main" id="{5F69EEAC-C5C8-11B8-E0A2-A6CC75CB741F}"/>
                  </a:ext>
                </a:extLst>
              </p:cNvPr>
              <p:cNvSpPr/>
              <p:nvPr/>
            </p:nvSpPr>
            <p:spPr>
              <a:xfrm rot="-2700000">
                <a:off x="6061708" y="2482561"/>
                <a:ext cx="105709" cy="9791"/>
              </a:xfrm>
              <a:custGeom>
                <a:avLst/>
                <a:gdLst>
                  <a:gd name="connsiteX0" fmla="*/ 0 w 105709"/>
                  <a:gd name="connsiteY0" fmla="*/ 0 h 9791"/>
                  <a:gd name="connsiteX1" fmla="*/ 105710 w 105709"/>
                  <a:gd name="connsiteY1" fmla="*/ 0 h 9791"/>
                  <a:gd name="connsiteX2" fmla="*/ 105710 w 105709"/>
                  <a:gd name="connsiteY2" fmla="*/ 9791 h 9791"/>
                  <a:gd name="connsiteX3" fmla="*/ 0 w 105709"/>
                  <a:gd name="connsiteY3" fmla="*/ 9791 h 97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05709" h="9791">
                    <a:moveTo>
                      <a:pt x="0" y="0"/>
                    </a:moveTo>
                    <a:lnTo>
                      <a:pt x="105710" y="0"/>
                    </a:lnTo>
                    <a:lnTo>
                      <a:pt x="105710" y="9791"/>
                    </a:lnTo>
                    <a:lnTo>
                      <a:pt x="0" y="9791"/>
                    </a:lnTo>
                    <a:close/>
                  </a:path>
                </a:pathLst>
              </a:custGeom>
              <a:solidFill>
                <a:schemeClr val="accent5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grpSp>
            <p:nvGrpSpPr>
              <p:cNvPr id="1399" name="Graphic 150">
                <a:extLst>
                  <a:ext uri="{FF2B5EF4-FFF2-40B4-BE49-F238E27FC236}">
                    <a16:creationId xmlns:a16="http://schemas.microsoft.com/office/drawing/2014/main" id="{0226B115-D149-C1FF-3F14-267A3BBFB229}"/>
                  </a:ext>
                </a:extLst>
              </p:cNvPr>
              <p:cNvGrpSpPr/>
              <p:nvPr/>
            </p:nvGrpSpPr>
            <p:grpSpPr>
              <a:xfrm>
                <a:off x="6079176" y="2443545"/>
                <a:ext cx="322558" cy="304574"/>
                <a:chOff x="6079176" y="2443545"/>
                <a:chExt cx="322558" cy="304574"/>
              </a:xfrm>
              <a:solidFill>
                <a:srgbClr val="F7E3C6"/>
              </a:solidFill>
            </p:grpSpPr>
            <p:sp>
              <p:nvSpPr>
                <p:cNvPr id="123" name="Freeform: Shape 122">
                  <a:extLst>
                    <a:ext uri="{FF2B5EF4-FFF2-40B4-BE49-F238E27FC236}">
                      <a16:creationId xmlns:a16="http://schemas.microsoft.com/office/drawing/2014/main" id="{0EA3DF33-7D58-9541-36AA-59E8E25F3D49}"/>
                    </a:ext>
                  </a:extLst>
                </p:cNvPr>
                <p:cNvSpPr/>
                <p:nvPr/>
              </p:nvSpPr>
              <p:spPr>
                <a:xfrm rot="-2700000">
                  <a:off x="6279729" y="2479485"/>
                  <a:ext cx="105709" cy="9791"/>
                </a:xfrm>
                <a:custGeom>
                  <a:avLst/>
                  <a:gdLst>
                    <a:gd name="connsiteX0" fmla="*/ 0 w 105709"/>
                    <a:gd name="connsiteY0" fmla="*/ 0 h 9791"/>
                    <a:gd name="connsiteX1" fmla="*/ 105710 w 105709"/>
                    <a:gd name="connsiteY1" fmla="*/ 0 h 9791"/>
                    <a:gd name="connsiteX2" fmla="*/ 105710 w 105709"/>
                    <a:gd name="connsiteY2" fmla="*/ 9791 h 9791"/>
                    <a:gd name="connsiteX3" fmla="*/ 0 w 105709"/>
                    <a:gd name="connsiteY3" fmla="*/ 9791 h 979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05709" h="9791">
                      <a:moveTo>
                        <a:pt x="0" y="0"/>
                      </a:moveTo>
                      <a:lnTo>
                        <a:pt x="105710" y="0"/>
                      </a:lnTo>
                      <a:lnTo>
                        <a:pt x="105710" y="9791"/>
                      </a:lnTo>
                      <a:lnTo>
                        <a:pt x="0" y="9791"/>
                      </a:lnTo>
                      <a:close/>
                    </a:path>
                  </a:pathLst>
                </a:custGeom>
                <a:solidFill>
                  <a:schemeClr val="accent5"/>
                </a:solidFill>
                <a:ln w="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GB"/>
                </a:p>
              </p:txBody>
            </p:sp>
            <p:sp>
              <p:nvSpPr>
                <p:cNvPr id="1024" name="Freeform: Shape 1023">
                  <a:extLst>
                    <a:ext uri="{FF2B5EF4-FFF2-40B4-BE49-F238E27FC236}">
                      <a16:creationId xmlns:a16="http://schemas.microsoft.com/office/drawing/2014/main" id="{315B48AC-7325-ED96-1A85-4A69BB6C4739}"/>
                    </a:ext>
                  </a:extLst>
                </p:cNvPr>
                <p:cNvSpPr/>
                <p:nvPr/>
              </p:nvSpPr>
              <p:spPr>
                <a:xfrm rot="-2700000">
                  <a:off x="6308044" y="2702388"/>
                  <a:ext cx="105709" cy="9791"/>
                </a:xfrm>
                <a:custGeom>
                  <a:avLst/>
                  <a:gdLst>
                    <a:gd name="connsiteX0" fmla="*/ 0 w 105709"/>
                    <a:gd name="connsiteY0" fmla="*/ 0 h 9791"/>
                    <a:gd name="connsiteX1" fmla="*/ 105710 w 105709"/>
                    <a:gd name="connsiteY1" fmla="*/ 0 h 9791"/>
                    <a:gd name="connsiteX2" fmla="*/ 105710 w 105709"/>
                    <a:gd name="connsiteY2" fmla="*/ 9791 h 9791"/>
                    <a:gd name="connsiteX3" fmla="*/ 0 w 105709"/>
                    <a:gd name="connsiteY3" fmla="*/ 9791 h 979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05709" h="9791">
                      <a:moveTo>
                        <a:pt x="0" y="0"/>
                      </a:moveTo>
                      <a:lnTo>
                        <a:pt x="105710" y="0"/>
                      </a:lnTo>
                      <a:lnTo>
                        <a:pt x="105710" y="9791"/>
                      </a:lnTo>
                      <a:lnTo>
                        <a:pt x="0" y="9791"/>
                      </a:lnTo>
                      <a:close/>
                    </a:path>
                  </a:pathLst>
                </a:custGeom>
                <a:solidFill>
                  <a:schemeClr val="accent5"/>
                </a:solidFill>
                <a:ln w="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GB"/>
                </a:p>
              </p:txBody>
            </p:sp>
            <p:sp>
              <p:nvSpPr>
                <p:cNvPr id="1025" name="Freeform: Shape 1024">
                  <a:extLst>
                    <a:ext uri="{FF2B5EF4-FFF2-40B4-BE49-F238E27FC236}">
                      <a16:creationId xmlns:a16="http://schemas.microsoft.com/office/drawing/2014/main" id="{2ED96F6E-8D1E-76F4-8516-44F678284924}"/>
                    </a:ext>
                  </a:extLst>
                </p:cNvPr>
                <p:cNvSpPr/>
                <p:nvPr/>
              </p:nvSpPr>
              <p:spPr>
                <a:xfrm rot="-2700000">
                  <a:off x="6067157" y="2677176"/>
                  <a:ext cx="105709" cy="9791"/>
                </a:xfrm>
                <a:custGeom>
                  <a:avLst/>
                  <a:gdLst>
                    <a:gd name="connsiteX0" fmla="*/ 0 w 105709"/>
                    <a:gd name="connsiteY0" fmla="*/ 0 h 9791"/>
                    <a:gd name="connsiteX1" fmla="*/ 105710 w 105709"/>
                    <a:gd name="connsiteY1" fmla="*/ 0 h 9791"/>
                    <a:gd name="connsiteX2" fmla="*/ 105710 w 105709"/>
                    <a:gd name="connsiteY2" fmla="*/ 9791 h 9791"/>
                    <a:gd name="connsiteX3" fmla="*/ 0 w 105709"/>
                    <a:gd name="connsiteY3" fmla="*/ 9791 h 979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05709" h="9791">
                      <a:moveTo>
                        <a:pt x="0" y="0"/>
                      </a:moveTo>
                      <a:lnTo>
                        <a:pt x="105710" y="0"/>
                      </a:lnTo>
                      <a:lnTo>
                        <a:pt x="105710" y="9791"/>
                      </a:lnTo>
                      <a:lnTo>
                        <a:pt x="0" y="9791"/>
                      </a:lnTo>
                      <a:close/>
                    </a:path>
                  </a:pathLst>
                </a:custGeom>
                <a:solidFill>
                  <a:schemeClr val="accent5"/>
                </a:solidFill>
                <a:ln w="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GB"/>
                </a:p>
              </p:txBody>
            </p:sp>
          </p:grpSp>
          <p:sp>
            <p:nvSpPr>
              <p:cNvPr id="1400" name="Freeform: Shape 1399">
                <a:extLst>
                  <a:ext uri="{FF2B5EF4-FFF2-40B4-BE49-F238E27FC236}">
                    <a16:creationId xmlns:a16="http://schemas.microsoft.com/office/drawing/2014/main" id="{6A60DF00-8097-DBC0-58C9-C605531B8EA5}"/>
                  </a:ext>
                </a:extLst>
              </p:cNvPr>
              <p:cNvSpPr/>
              <p:nvPr/>
            </p:nvSpPr>
            <p:spPr>
              <a:xfrm rot="-2700000">
                <a:off x="6210890" y="2104599"/>
                <a:ext cx="9791" cy="96130"/>
              </a:xfrm>
              <a:custGeom>
                <a:avLst/>
                <a:gdLst>
                  <a:gd name="connsiteX0" fmla="*/ 0 w 9791"/>
                  <a:gd name="connsiteY0" fmla="*/ 0 h 96130"/>
                  <a:gd name="connsiteX1" fmla="*/ 9791 w 9791"/>
                  <a:gd name="connsiteY1" fmla="*/ 0 h 96130"/>
                  <a:gd name="connsiteX2" fmla="*/ 9791 w 9791"/>
                  <a:gd name="connsiteY2" fmla="*/ 96131 h 96130"/>
                  <a:gd name="connsiteX3" fmla="*/ 0 w 9791"/>
                  <a:gd name="connsiteY3" fmla="*/ 96131 h 961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791" h="96130">
                    <a:moveTo>
                      <a:pt x="0" y="0"/>
                    </a:moveTo>
                    <a:lnTo>
                      <a:pt x="9791" y="0"/>
                    </a:lnTo>
                    <a:lnTo>
                      <a:pt x="9791" y="96131"/>
                    </a:lnTo>
                    <a:lnTo>
                      <a:pt x="0" y="96131"/>
                    </a:lnTo>
                    <a:close/>
                  </a:path>
                </a:pathLst>
              </a:custGeom>
              <a:solidFill>
                <a:schemeClr val="accent5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1401" name="Freeform: Shape 1400">
                <a:extLst>
                  <a:ext uri="{FF2B5EF4-FFF2-40B4-BE49-F238E27FC236}">
                    <a16:creationId xmlns:a16="http://schemas.microsoft.com/office/drawing/2014/main" id="{CEC11CBB-E6D9-92FD-FF0C-9816B7944E52}"/>
                  </a:ext>
                </a:extLst>
              </p:cNvPr>
              <p:cNvSpPr/>
              <p:nvPr/>
            </p:nvSpPr>
            <p:spPr>
              <a:xfrm rot="-2700000">
                <a:off x="6437351" y="2111708"/>
                <a:ext cx="9791" cy="96130"/>
              </a:xfrm>
              <a:custGeom>
                <a:avLst/>
                <a:gdLst>
                  <a:gd name="connsiteX0" fmla="*/ 0 w 9791"/>
                  <a:gd name="connsiteY0" fmla="*/ 0 h 96130"/>
                  <a:gd name="connsiteX1" fmla="*/ 9791 w 9791"/>
                  <a:gd name="connsiteY1" fmla="*/ 0 h 96130"/>
                  <a:gd name="connsiteX2" fmla="*/ 9791 w 9791"/>
                  <a:gd name="connsiteY2" fmla="*/ 96131 h 96130"/>
                  <a:gd name="connsiteX3" fmla="*/ 0 w 9791"/>
                  <a:gd name="connsiteY3" fmla="*/ 96131 h 961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791" h="96130">
                    <a:moveTo>
                      <a:pt x="0" y="0"/>
                    </a:moveTo>
                    <a:lnTo>
                      <a:pt x="9791" y="0"/>
                    </a:lnTo>
                    <a:lnTo>
                      <a:pt x="9791" y="96131"/>
                    </a:lnTo>
                    <a:lnTo>
                      <a:pt x="0" y="96131"/>
                    </a:lnTo>
                    <a:close/>
                  </a:path>
                </a:pathLst>
              </a:custGeom>
              <a:solidFill>
                <a:schemeClr val="accent5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1402" name="Freeform: Shape 1401">
                <a:extLst>
                  <a:ext uri="{FF2B5EF4-FFF2-40B4-BE49-F238E27FC236}">
                    <a16:creationId xmlns:a16="http://schemas.microsoft.com/office/drawing/2014/main" id="{452913E5-8863-AD2E-E391-715AC823D038}"/>
                  </a:ext>
                </a:extLst>
              </p:cNvPr>
              <p:cNvSpPr/>
              <p:nvPr/>
            </p:nvSpPr>
            <p:spPr>
              <a:xfrm rot="-2700000">
                <a:off x="6274278" y="2036446"/>
                <a:ext cx="105709" cy="9791"/>
              </a:xfrm>
              <a:custGeom>
                <a:avLst/>
                <a:gdLst>
                  <a:gd name="connsiteX0" fmla="*/ 0 w 105709"/>
                  <a:gd name="connsiteY0" fmla="*/ 0 h 9791"/>
                  <a:gd name="connsiteX1" fmla="*/ 105710 w 105709"/>
                  <a:gd name="connsiteY1" fmla="*/ 0 h 9791"/>
                  <a:gd name="connsiteX2" fmla="*/ 105710 w 105709"/>
                  <a:gd name="connsiteY2" fmla="*/ 9791 h 9791"/>
                  <a:gd name="connsiteX3" fmla="*/ 0 w 105709"/>
                  <a:gd name="connsiteY3" fmla="*/ 9791 h 97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05709" h="9791">
                    <a:moveTo>
                      <a:pt x="0" y="0"/>
                    </a:moveTo>
                    <a:lnTo>
                      <a:pt x="105710" y="0"/>
                    </a:lnTo>
                    <a:lnTo>
                      <a:pt x="105710" y="9791"/>
                    </a:lnTo>
                    <a:lnTo>
                      <a:pt x="0" y="9791"/>
                    </a:lnTo>
                    <a:close/>
                  </a:path>
                </a:pathLst>
              </a:custGeom>
              <a:solidFill>
                <a:schemeClr val="accent5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1403" name="Freeform: Shape 1402">
                <a:extLst>
                  <a:ext uri="{FF2B5EF4-FFF2-40B4-BE49-F238E27FC236}">
                    <a16:creationId xmlns:a16="http://schemas.microsoft.com/office/drawing/2014/main" id="{47286F4A-720B-D073-AE17-F316859B1F5E}"/>
                  </a:ext>
                </a:extLst>
              </p:cNvPr>
              <p:cNvSpPr/>
              <p:nvPr/>
            </p:nvSpPr>
            <p:spPr>
              <a:xfrm rot="-2700000">
                <a:off x="6279740" y="2264541"/>
                <a:ext cx="105709" cy="9791"/>
              </a:xfrm>
              <a:custGeom>
                <a:avLst/>
                <a:gdLst>
                  <a:gd name="connsiteX0" fmla="*/ 0 w 105709"/>
                  <a:gd name="connsiteY0" fmla="*/ 0 h 9791"/>
                  <a:gd name="connsiteX1" fmla="*/ 105710 w 105709"/>
                  <a:gd name="connsiteY1" fmla="*/ 0 h 9791"/>
                  <a:gd name="connsiteX2" fmla="*/ 105710 w 105709"/>
                  <a:gd name="connsiteY2" fmla="*/ 9791 h 9791"/>
                  <a:gd name="connsiteX3" fmla="*/ 0 w 105709"/>
                  <a:gd name="connsiteY3" fmla="*/ 9791 h 97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05709" h="9791">
                    <a:moveTo>
                      <a:pt x="0" y="0"/>
                    </a:moveTo>
                    <a:lnTo>
                      <a:pt x="105710" y="0"/>
                    </a:lnTo>
                    <a:lnTo>
                      <a:pt x="105710" y="9791"/>
                    </a:lnTo>
                    <a:lnTo>
                      <a:pt x="0" y="9791"/>
                    </a:lnTo>
                    <a:close/>
                  </a:path>
                </a:pathLst>
              </a:custGeom>
              <a:solidFill>
                <a:schemeClr val="accent5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1404" name="Freeform: Shape 1403">
                <a:extLst>
                  <a:ext uri="{FF2B5EF4-FFF2-40B4-BE49-F238E27FC236}">
                    <a16:creationId xmlns:a16="http://schemas.microsoft.com/office/drawing/2014/main" id="{617C64C9-3736-D1CE-2B1A-8C4E5F0493C4}"/>
                  </a:ext>
                </a:extLst>
              </p:cNvPr>
              <p:cNvSpPr/>
              <p:nvPr/>
            </p:nvSpPr>
            <p:spPr>
              <a:xfrm rot="-2700000">
                <a:off x="5873484" y="2899517"/>
                <a:ext cx="105709" cy="9791"/>
              </a:xfrm>
              <a:custGeom>
                <a:avLst/>
                <a:gdLst>
                  <a:gd name="connsiteX0" fmla="*/ 0 w 105709"/>
                  <a:gd name="connsiteY0" fmla="*/ 0 h 9791"/>
                  <a:gd name="connsiteX1" fmla="*/ 105710 w 105709"/>
                  <a:gd name="connsiteY1" fmla="*/ 0 h 9791"/>
                  <a:gd name="connsiteX2" fmla="*/ 105710 w 105709"/>
                  <a:gd name="connsiteY2" fmla="*/ 9791 h 9791"/>
                  <a:gd name="connsiteX3" fmla="*/ 0 w 105709"/>
                  <a:gd name="connsiteY3" fmla="*/ 9791 h 97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05709" h="9791">
                    <a:moveTo>
                      <a:pt x="0" y="0"/>
                    </a:moveTo>
                    <a:lnTo>
                      <a:pt x="105710" y="0"/>
                    </a:lnTo>
                    <a:lnTo>
                      <a:pt x="105710" y="9791"/>
                    </a:lnTo>
                    <a:lnTo>
                      <a:pt x="0" y="9791"/>
                    </a:lnTo>
                    <a:close/>
                  </a:path>
                </a:pathLst>
              </a:custGeom>
              <a:solidFill>
                <a:schemeClr val="accent5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1405" name="Freeform: Shape 1404">
                <a:extLst>
                  <a:ext uri="{FF2B5EF4-FFF2-40B4-BE49-F238E27FC236}">
                    <a16:creationId xmlns:a16="http://schemas.microsoft.com/office/drawing/2014/main" id="{AF373D0F-2475-039A-E062-675480FBD39A}"/>
                  </a:ext>
                </a:extLst>
              </p:cNvPr>
              <p:cNvSpPr/>
              <p:nvPr/>
            </p:nvSpPr>
            <p:spPr>
              <a:xfrm rot="-2700000">
                <a:off x="5832661" y="2723563"/>
                <a:ext cx="105709" cy="9791"/>
              </a:xfrm>
              <a:custGeom>
                <a:avLst/>
                <a:gdLst>
                  <a:gd name="connsiteX0" fmla="*/ 0 w 105709"/>
                  <a:gd name="connsiteY0" fmla="*/ 0 h 9791"/>
                  <a:gd name="connsiteX1" fmla="*/ 105710 w 105709"/>
                  <a:gd name="connsiteY1" fmla="*/ 0 h 9791"/>
                  <a:gd name="connsiteX2" fmla="*/ 105710 w 105709"/>
                  <a:gd name="connsiteY2" fmla="*/ 9791 h 9791"/>
                  <a:gd name="connsiteX3" fmla="*/ 0 w 105709"/>
                  <a:gd name="connsiteY3" fmla="*/ 9791 h 97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05709" h="9791">
                    <a:moveTo>
                      <a:pt x="0" y="0"/>
                    </a:moveTo>
                    <a:lnTo>
                      <a:pt x="105710" y="0"/>
                    </a:lnTo>
                    <a:lnTo>
                      <a:pt x="105710" y="9791"/>
                    </a:lnTo>
                    <a:lnTo>
                      <a:pt x="0" y="9791"/>
                    </a:lnTo>
                    <a:close/>
                  </a:path>
                </a:pathLst>
              </a:custGeom>
              <a:solidFill>
                <a:schemeClr val="accent5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1406" name="Freeform: Shape 1405">
                <a:extLst>
                  <a:ext uri="{FF2B5EF4-FFF2-40B4-BE49-F238E27FC236}">
                    <a16:creationId xmlns:a16="http://schemas.microsoft.com/office/drawing/2014/main" id="{5C0E2388-901F-AFA1-9358-FEFE2871A2C9}"/>
                  </a:ext>
                </a:extLst>
              </p:cNvPr>
              <p:cNvSpPr/>
              <p:nvPr/>
            </p:nvSpPr>
            <p:spPr>
              <a:xfrm rot="-2700000">
                <a:off x="6065689" y="2976106"/>
                <a:ext cx="9791" cy="96130"/>
              </a:xfrm>
              <a:custGeom>
                <a:avLst/>
                <a:gdLst>
                  <a:gd name="connsiteX0" fmla="*/ 0 w 9791"/>
                  <a:gd name="connsiteY0" fmla="*/ 0 h 96130"/>
                  <a:gd name="connsiteX1" fmla="*/ 9791 w 9791"/>
                  <a:gd name="connsiteY1" fmla="*/ 0 h 96130"/>
                  <a:gd name="connsiteX2" fmla="*/ 9791 w 9791"/>
                  <a:gd name="connsiteY2" fmla="*/ 96131 h 96130"/>
                  <a:gd name="connsiteX3" fmla="*/ 0 w 9791"/>
                  <a:gd name="connsiteY3" fmla="*/ 96131 h 961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791" h="96130">
                    <a:moveTo>
                      <a:pt x="0" y="0"/>
                    </a:moveTo>
                    <a:lnTo>
                      <a:pt x="9791" y="0"/>
                    </a:lnTo>
                    <a:lnTo>
                      <a:pt x="9791" y="96131"/>
                    </a:lnTo>
                    <a:lnTo>
                      <a:pt x="0" y="96131"/>
                    </a:lnTo>
                    <a:close/>
                  </a:path>
                </a:pathLst>
              </a:custGeom>
              <a:solidFill>
                <a:schemeClr val="accent5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1407" name="Freeform: Shape 1406">
                <a:extLst>
                  <a:ext uri="{FF2B5EF4-FFF2-40B4-BE49-F238E27FC236}">
                    <a16:creationId xmlns:a16="http://schemas.microsoft.com/office/drawing/2014/main" id="{E00ACAD5-1328-42BF-B4C6-AB32E58359C8}"/>
                  </a:ext>
                </a:extLst>
              </p:cNvPr>
              <p:cNvSpPr/>
              <p:nvPr/>
            </p:nvSpPr>
            <p:spPr>
              <a:xfrm rot="-2700000">
                <a:off x="6292180" y="2983245"/>
                <a:ext cx="9791" cy="96130"/>
              </a:xfrm>
              <a:custGeom>
                <a:avLst/>
                <a:gdLst>
                  <a:gd name="connsiteX0" fmla="*/ 0 w 9791"/>
                  <a:gd name="connsiteY0" fmla="*/ 0 h 96130"/>
                  <a:gd name="connsiteX1" fmla="*/ 9791 w 9791"/>
                  <a:gd name="connsiteY1" fmla="*/ 0 h 96130"/>
                  <a:gd name="connsiteX2" fmla="*/ 9791 w 9791"/>
                  <a:gd name="connsiteY2" fmla="*/ 96131 h 96130"/>
                  <a:gd name="connsiteX3" fmla="*/ 0 w 9791"/>
                  <a:gd name="connsiteY3" fmla="*/ 96131 h 961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791" h="96130">
                    <a:moveTo>
                      <a:pt x="0" y="0"/>
                    </a:moveTo>
                    <a:lnTo>
                      <a:pt x="9791" y="0"/>
                    </a:lnTo>
                    <a:lnTo>
                      <a:pt x="9791" y="96131"/>
                    </a:lnTo>
                    <a:lnTo>
                      <a:pt x="0" y="96131"/>
                    </a:lnTo>
                    <a:close/>
                  </a:path>
                </a:pathLst>
              </a:custGeom>
              <a:solidFill>
                <a:schemeClr val="accent5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64" name="Freeform: Shape 63">
                <a:extLst>
                  <a:ext uri="{FF2B5EF4-FFF2-40B4-BE49-F238E27FC236}">
                    <a16:creationId xmlns:a16="http://schemas.microsoft.com/office/drawing/2014/main" id="{A913EB12-87AC-3E94-E93B-5BF7BBC28EFC}"/>
                  </a:ext>
                </a:extLst>
              </p:cNvPr>
              <p:cNvSpPr/>
              <p:nvPr/>
            </p:nvSpPr>
            <p:spPr>
              <a:xfrm rot="-2700000">
                <a:off x="6107925" y="2918264"/>
                <a:ext cx="105709" cy="9791"/>
              </a:xfrm>
              <a:custGeom>
                <a:avLst/>
                <a:gdLst>
                  <a:gd name="connsiteX0" fmla="*/ 0 w 105709"/>
                  <a:gd name="connsiteY0" fmla="*/ 0 h 9791"/>
                  <a:gd name="connsiteX1" fmla="*/ 105710 w 105709"/>
                  <a:gd name="connsiteY1" fmla="*/ 0 h 9791"/>
                  <a:gd name="connsiteX2" fmla="*/ 105710 w 105709"/>
                  <a:gd name="connsiteY2" fmla="*/ 9791 h 9791"/>
                  <a:gd name="connsiteX3" fmla="*/ 0 w 105709"/>
                  <a:gd name="connsiteY3" fmla="*/ 9791 h 97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05709" h="9791">
                    <a:moveTo>
                      <a:pt x="0" y="0"/>
                    </a:moveTo>
                    <a:lnTo>
                      <a:pt x="105710" y="0"/>
                    </a:lnTo>
                    <a:lnTo>
                      <a:pt x="105710" y="9791"/>
                    </a:lnTo>
                    <a:lnTo>
                      <a:pt x="0" y="9791"/>
                    </a:lnTo>
                    <a:close/>
                  </a:path>
                </a:pathLst>
              </a:custGeom>
              <a:solidFill>
                <a:schemeClr val="accent5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65" name="Freeform: Shape 64">
                <a:extLst>
                  <a:ext uri="{FF2B5EF4-FFF2-40B4-BE49-F238E27FC236}">
                    <a16:creationId xmlns:a16="http://schemas.microsoft.com/office/drawing/2014/main" id="{67358770-8E99-1B71-1DDB-3A70DDFBE0D1}"/>
                  </a:ext>
                </a:extLst>
              </p:cNvPr>
              <p:cNvSpPr/>
              <p:nvPr/>
            </p:nvSpPr>
            <p:spPr>
              <a:xfrm rot="-2925599">
                <a:off x="6334935" y="2918310"/>
                <a:ext cx="105709" cy="9791"/>
              </a:xfrm>
              <a:custGeom>
                <a:avLst/>
                <a:gdLst>
                  <a:gd name="connsiteX0" fmla="*/ 0 w 105709"/>
                  <a:gd name="connsiteY0" fmla="*/ 0 h 9791"/>
                  <a:gd name="connsiteX1" fmla="*/ 105710 w 105709"/>
                  <a:gd name="connsiteY1" fmla="*/ 0 h 9791"/>
                  <a:gd name="connsiteX2" fmla="*/ 105710 w 105709"/>
                  <a:gd name="connsiteY2" fmla="*/ 9791 h 9791"/>
                  <a:gd name="connsiteX3" fmla="*/ 0 w 105709"/>
                  <a:gd name="connsiteY3" fmla="*/ 9791 h 97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05709" h="9791">
                    <a:moveTo>
                      <a:pt x="0" y="0"/>
                    </a:moveTo>
                    <a:lnTo>
                      <a:pt x="105710" y="0"/>
                    </a:lnTo>
                    <a:lnTo>
                      <a:pt x="105710" y="9791"/>
                    </a:lnTo>
                    <a:lnTo>
                      <a:pt x="0" y="9791"/>
                    </a:lnTo>
                    <a:close/>
                  </a:path>
                </a:pathLst>
              </a:custGeom>
              <a:solidFill>
                <a:schemeClr val="accent5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70" name="Freeform: Shape 69">
                <a:extLst>
                  <a:ext uri="{FF2B5EF4-FFF2-40B4-BE49-F238E27FC236}">
                    <a16:creationId xmlns:a16="http://schemas.microsoft.com/office/drawing/2014/main" id="{5BF95E88-1B0A-1BFC-5443-06E35818D15D}"/>
                  </a:ext>
                </a:extLst>
              </p:cNvPr>
              <p:cNvSpPr/>
              <p:nvPr/>
            </p:nvSpPr>
            <p:spPr>
              <a:xfrm rot="-2925599">
                <a:off x="6547283" y="2901776"/>
                <a:ext cx="105709" cy="9791"/>
              </a:xfrm>
              <a:custGeom>
                <a:avLst/>
                <a:gdLst>
                  <a:gd name="connsiteX0" fmla="*/ 0 w 105709"/>
                  <a:gd name="connsiteY0" fmla="*/ 0 h 9791"/>
                  <a:gd name="connsiteX1" fmla="*/ 105710 w 105709"/>
                  <a:gd name="connsiteY1" fmla="*/ 0 h 9791"/>
                  <a:gd name="connsiteX2" fmla="*/ 105710 w 105709"/>
                  <a:gd name="connsiteY2" fmla="*/ 9791 h 9791"/>
                  <a:gd name="connsiteX3" fmla="*/ 0 w 105709"/>
                  <a:gd name="connsiteY3" fmla="*/ 9791 h 97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05709" h="9791">
                    <a:moveTo>
                      <a:pt x="0" y="0"/>
                    </a:moveTo>
                    <a:lnTo>
                      <a:pt x="105710" y="0"/>
                    </a:lnTo>
                    <a:lnTo>
                      <a:pt x="105710" y="9791"/>
                    </a:lnTo>
                    <a:lnTo>
                      <a:pt x="0" y="9791"/>
                    </a:lnTo>
                    <a:close/>
                  </a:path>
                </a:pathLst>
              </a:custGeom>
              <a:solidFill>
                <a:schemeClr val="accent5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71" name="Freeform: Shape 70">
                <a:extLst>
                  <a:ext uri="{FF2B5EF4-FFF2-40B4-BE49-F238E27FC236}">
                    <a16:creationId xmlns:a16="http://schemas.microsoft.com/office/drawing/2014/main" id="{8B97F904-C773-2AC5-698B-878CB7B400D0}"/>
                  </a:ext>
                </a:extLst>
              </p:cNvPr>
              <p:cNvSpPr/>
              <p:nvPr/>
            </p:nvSpPr>
            <p:spPr>
              <a:xfrm rot="-2925599">
                <a:off x="6531751" y="2711693"/>
                <a:ext cx="105709" cy="9791"/>
              </a:xfrm>
              <a:custGeom>
                <a:avLst/>
                <a:gdLst>
                  <a:gd name="connsiteX0" fmla="*/ 0 w 105709"/>
                  <a:gd name="connsiteY0" fmla="*/ 0 h 9791"/>
                  <a:gd name="connsiteX1" fmla="*/ 105710 w 105709"/>
                  <a:gd name="connsiteY1" fmla="*/ 0 h 9791"/>
                  <a:gd name="connsiteX2" fmla="*/ 105710 w 105709"/>
                  <a:gd name="connsiteY2" fmla="*/ 9791 h 9791"/>
                  <a:gd name="connsiteX3" fmla="*/ 0 w 105709"/>
                  <a:gd name="connsiteY3" fmla="*/ 9791 h 97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05709" h="9791">
                    <a:moveTo>
                      <a:pt x="0" y="0"/>
                    </a:moveTo>
                    <a:lnTo>
                      <a:pt x="105710" y="0"/>
                    </a:lnTo>
                    <a:lnTo>
                      <a:pt x="105710" y="9791"/>
                    </a:lnTo>
                    <a:lnTo>
                      <a:pt x="0" y="9791"/>
                    </a:lnTo>
                    <a:close/>
                  </a:path>
                </a:pathLst>
              </a:custGeom>
              <a:solidFill>
                <a:schemeClr val="accent5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72" name="Freeform: Shape 71">
                <a:extLst>
                  <a:ext uri="{FF2B5EF4-FFF2-40B4-BE49-F238E27FC236}">
                    <a16:creationId xmlns:a16="http://schemas.microsoft.com/office/drawing/2014/main" id="{5FA3BBAB-82EA-91A6-ECD3-F0F3B5A703F6}"/>
                  </a:ext>
                </a:extLst>
              </p:cNvPr>
              <p:cNvSpPr/>
              <p:nvPr/>
            </p:nvSpPr>
            <p:spPr>
              <a:xfrm rot="-2925599">
                <a:off x="6256379" y="2768864"/>
                <a:ext cx="9791" cy="96130"/>
              </a:xfrm>
              <a:custGeom>
                <a:avLst/>
                <a:gdLst>
                  <a:gd name="connsiteX0" fmla="*/ 0 w 9791"/>
                  <a:gd name="connsiteY0" fmla="*/ 0 h 96130"/>
                  <a:gd name="connsiteX1" fmla="*/ 9791 w 9791"/>
                  <a:gd name="connsiteY1" fmla="*/ 0 h 96130"/>
                  <a:gd name="connsiteX2" fmla="*/ 9791 w 9791"/>
                  <a:gd name="connsiteY2" fmla="*/ 96131 h 96130"/>
                  <a:gd name="connsiteX3" fmla="*/ 0 w 9791"/>
                  <a:gd name="connsiteY3" fmla="*/ 96131 h 961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791" h="96130">
                    <a:moveTo>
                      <a:pt x="0" y="0"/>
                    </a:moveTo>
                    <a:lnTo>
                      <a:pt x="9791" y="0"/>
                    </a:lnTo>
                    <a:lnTo>
                      <a:pt x="9791" y="96131"/>
                    </a:lnTo>
                    <a:lnTo>
                      <a:pt x="0" y="96131"/>
                    </a:lnTo>
                    <a:close/>
                  </a:path>
                </a:pathLst>
              </a:custGeom>
              <a:solidFill>
                <a:schemeClr val="accent5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74" name="Freeform: Shape 73">
                <a:extLst>
                  <a:ext uri="{FF2B5EF4-FFF2-40B4-BE49-F238E27FC236}">
                    <a16:creationId xmlns:a16="http://schemas.microsoft.com/office/drawing/2014/main" id="{CC8244AD-E7C2-D917-3101-325FD31E5C9F}"/>
                  </a:ext>
                </a:extLst>
              </p:cNvPr>
              <p:cNvSpPr/>
              <p:nvPr/>
            </p:nvSpPr>
            <p:spPr>
              <a:xfrm rot="-2925599">
                <a:off x="6493876" y="2768865"/>
                <a:ext cx="9791" cy="96130"/>
              </a:xfrm>
              <a:custGeom>
                <a:avLst/>
                <a:gdLst>
                  <a:gd name="connsiteX0" fmla="*/ 0 w 9791"/>
                  <a:gd name="connsiteY0" fmla="*/ 0 h 96130"/>
                  <a:gd name="connsiteX1" fmla="*/ 9791 w 9791"/>
                  <a:gd name="connsiteY1" fmla="*/ 0 h 96130"/>
                  <a:gd name="connsiteX2" fmla="*/ 9791 w 9791"/>
                  <a:gd name="connsiteY2" fmla="*/ 96131 h 96130"/>
                  <a:gd name="connsiteX3" fmla="*/ 0 w 9791"/>
                  <a:gd name="connsiteY3" fmla="*/ 96131 h 961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791" h="96130">
                    <a:moveTo>
                      <a:pt x="0" y="0"/>
                    </a:moveTo>
                    <a:lnTo>
                      <a:pt x="9791" y="0"/>
                    </a:lnTo>
                    <a:lnTo>
                      <a:pt x="9791" y="96131"/>
                    </a:lnTo>
                    <a:lnTo>
                      <a:pt x="0" y="96131"/>
                    </a:lnTo>
                    <a:close/>
                  </a:path>
                </a:pathLst>
              </a:custGeom>
              <a:solidFill>
                <a:schemeClr val="accent5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75" name="Freeform: Shape 74">
                <a:extLst>
                  <a:ext uri="{FF2B5EF4-FFF2-40B4-BE49-F238E27FC236}">
                    <a16:creationId xmlns:a16="http://schemas.microsoft.com/office/drawing/2014/main" id="{3EB1FADE-5742-9E3B-9273-CEA7AE102A53}"/>
                  </a:ext>
                </a:extLst>
              </p:cNvPr>
              <p:cNvSpPr/>
              <p:nvPr/>
            </p:nvSpPr>
            <p:spPr>
              <a:xfrm rot="-2925599">
                <a:off x="6483904" y="2967167"/>
                <a:ext cx="9791" cy="96130"/>
              </a:xfrm>
              <a:custGeom>
                <a:avLst/>
                <a:gdLst>
                  <a:gd name="connsiteX0" fmla="*/ 0 w 9791"/>
                  <a:gd name="connsiteY0" fmla="*/ 0 h 96130"/>
                  <a:gd name="connsiteX1" fmla="*/ 9791 w 9791"/>
                  <a:gd name="connsiteY1" fmla="*/ 0 h 96130"/>
                  <a:gd name="connsiteX2" fmla="*/ 9791 w 9791"/>
                  <a:gd name="connsiteY2" fmla="*/ 96131 h 96130"/>
                  <a:gd name="connsiteX3" fmla="*/ 0 w 9791"/>
                  <a:gd name="connsiteY3" fmla="*/ 96131 h 961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791" h="96130">
                    <a:moveTo>
                      <a:pt x="0" y="0"/>
                    </a:moveTo>
                    <a:lnTo>
                      <a:pt x="9791" y="0"/>
                    </a:lnTo>
                    <a:lnTo>
                      <a:pt x="9791" y="96131"/>
                    </a:lnTo>
                    <a:lnTo>
                      <a:pt x="0" y="96131"/>
                    </a:lnTo>
                    <a:close/>
                  </a:path>
                </a:pathLst>
              </a:custGeom>
              <a:solidFill>
                <a:schemeClr val="accent5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78" name="Freeform: Shape 77">
                <a:extLst>
                  <a:ext uri="{FF2B5EF4-FFF2-40B4-BE49-F238E27FC236}">
                    <a16:creationId xmlns:a16="http://schemas.microsoft.com/office/drawing/2014/main" id="{071E219E-4790-3192-6394-ED2828512E7E}"/>
                  </a:ext>
                </a:extLst>
              </p:cNvPr>
              <p:cNvSpPr/>
              <p:nvPr/>
            </p:nvSpPr>
            <p:spPr>
              <a:xfrm rot="-2925599">
                <a:off x="6013259" y="2756766"/>
                <a:ext cx="9791" cy="96130"/>
              </a:xfrm>
              <a:custGeom>
                <a:avLst/>
                <a:gdLst>
                  <a:gd name="connsiteX0" fmla="*/ 0 w 9791"/>
                  <a:gd name="connsiteY0" fmla="*/ 0 h 96130"/>
                  <a:gd name="connsiteX1" fmla="*/ 9791 w 9791"/>
                  <a:gd name="connsiteY1" fmla="*/ 0 h 96130"/>
                  <a:gd name="connsiteX2" fmla="*/ 9791 w 9791"/>
                  <a:gd name="connsiteY2" fmla="*/ 96131 h 96130"/>
                  <a:gd name="connsiteX3" fmla="*/ 0 w 9791"/>
                  <a:gd name="connsiteY3" fmla="*/ 96131 h 961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791" h="96130">
                    <a:moveTo>
                      <a:pt x="0" y="0"/>
                    </a:moveTo>
                    <a:lnTo>
                      <a:pt x="9791" y="0"/>
                    </a:lnTo>
                    <a:lnTo>
                      <a:pt x="9791" y="96131"/>
                    </a:lnTo>
                    <a:lnTo>
                      <a:pt x="0" y="96131"/>
                    </a:lnTo>
                    <a:close/>
                  </a:path>
                </a:pathLst>
              </a:custGeom>
              <a:solidFill>
                <a:schemeClr val="accent5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100" name="Freeform: Shape 99">
                <a:extLst>
                  <a:ext uri="{FF2B5EF4-FFF2-40B4-BE49-F238E27FC236}">
                    <a16:creationId xmlns:a16="http://schemas.microsoft.com/office/drawing/2014/main" id="{94D064A2-B48A-C0A4-5150-B3AF53198394}"/>
                  </a:ext>
                </a:extLst>
              </p:cNvPr>
              <p:cNvSpPr/>
              <p:nvPr/>
            </p:nvSpPr>
            <p:spPr>
              <a:xfrm rot="-2700000">
                <a:off x="6434301" y="2329649"/>
                <a:ext cx="9791" cy="96130"/>
              </a:xfrm>
              <a:custGeom>
                <a:avLst/>
                <a:gdLst>
                  <a:gd name="connsiteX0" fmla="*/ 0 w 9791"/>
                  <a:gd name="connsiteY0" fmla="*/ 0 h 96130"/>
                  <a:gd name="connsiteX1" fmla="*/ 9791 w 9791"/>
                  <a:gd name="connsiteY1" fmla="*/ 0 h 96130"/>
                  <a:gd name="connsiteX2" fmla="*/ 9791 w 9791"/>
                  <a:gd name="connsiteY2" fmla="*/ 96131 h 96130"/>
                  <a:gd name="connsiteX3" fmla="*/ 0 w 9791"/>
                  <a:gd name="connsiteY3" fmla="*/ 96131 h 961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791" h="96130">
                    <a:moveTo>
                      <a:pt x="0" y="0"/>
                    </a:moveTo>
                    <a:lnTo>
                      <a:pt x="9791" y="0"/>
                    </a:lnTo>
                    <a:lnTo>
                      <a:pt x="9791" y="96131"/>
                    </a:lnTo>
                    <a:lnTo>
                      <a:pt x="0" y="96131"/>
                    </a:lnTo>
                    <a:close/>
                  </a:path>
                </a:pathLst>
              </a:custGeom>
              <a:solidFill>
                <a:schemeClr val="accent5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101" name="Freeform: Shape 100">
                <a:extLst>
                  <a:ext uri="{FF2B5EF4-FFF2-40B4-BE49-F238E27FC236}">
                    <a16:creationId xmlns:a16="http://schemas.microsoft.com/office/drawing/2014/main" id="{B59548DA-37C1-A44F-2B12-C584B8AD90D7}"/>
                  </a:ext>
                </a:extLst>
              </p:cNvPr>
              <p:cNvSpPr/>
              <p:nvPr/>
            </p:nvSpPr>
            <p:spPr>
              <a:xfrm rot="-2700000">
                <a:off x="6424895" y="1890578"/>
                <a:ext cx="9791" cy="96130"/>
              </a:xfrm>
              <a:custGeom>
                <a:avLst/>
                <a:gdLst>
                  <a:gd name="connsiteX0" fmla="*/ 0 w 9791"/>
                  <a:gd name="connsiteY0" fmla="*/ 0 h 96130"/>
                  <a:gd name="connsiteX1" fmla="*/ 9791 w 9791"/>
                  <a:gd name="connsiteY1" fmla="*/ 0 h 96130"/>
                  <a:gd name="connsiteX2" fmla="*/ 9791 w 9791"/>
                  <a:gd name="connsiteY2" fmla="*/ 96131 h 96130"/>
                  <a:gd name="connsiteX3" fmla="*/ 0 w 9791"/>
                  <a:gd name="connsiteY3" fmla="*/ 96131 h 961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791" h="96130">
                    <a:moveTo>
                      <a:pt x="0" y="0"/>
                    </a:moveTo>
                    <a:lnTo>
                      <a:pt x="9791" y="0"/>
                    </a:lnTo>
                    <a:lnTo>
                      <a:pt x="9791" y="96131"/>
                    </a:lnTo>
                    <a:lnTo>
                      <a:pt x="0" y="96131"/>
                    </a:lnTo>
                    <a:close/>
                  </a:path>
                </a:pathLst>
              </a:custGeom>
              <a:solidFill>
                <a:schemeClr val="accent5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102" name="Freeform: Shape 101">
                <a:extLst>
                  <a:ext uri="{FF2B5EF4-FFF2-40B4-BE49-F238E27FC236}">
                    <a16:creationId xmlns:a16="http://schemas.microsoft.com/office/drawing/2014/main" id="{398F3650-9617-6EC7-AC15-3EB35E34E373}"/>
                  </a:ext>
                </a:extLst>
              </p:cNvPr>
              <p:cNvSpPr/>
              <p:nvPr/>
            </p:nvSpPr>
            <p:spPr>
              <a:xfrm rot="-2700000">
                <a:off x="6651399" y="1897687"/>
                <a:ext cx="9791" cy="96130"/>
              </a:xfrm>
              <a:custGeom>
                <a:avLst/>
                <a:gdLst>
                  <a:gd name="connsiteX0" fmla="*/ 0 w 9791"/>
                  <a:gd name="connsiteY0" fmla="*/ 0 h 96130"/>
                  <a:gd name="connsiteX1" fmla="*/ 9791 w 9791"/>
                  <a:gd name="connsiteY1" fmla="*/ 0 h 96130"/>
                  <a:gd name="connsiteX2" fmla="*/ 9791 w 9791"/>
                  <a:gd name="connsiteY2" fmla="*/ 96131 h 96130"/>
                  <a:gd name="connsiteX3" fmla="*/ 0 w 9791"/>
                  <a:gd name="connsiteY3" fmla="*/ 96131 h 961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791" h="96130">
                    <a:moveTo>
                      <a:pt x="0" y="0"/>
                    </a:moveTo>
                    <a:lnTo>
                      <a:pt x="9791" y="0"/>
                    </a:lnTo>
                    <a:lnTo>
                      <a:pt x="9791" y="96131"/>
                    </a:lnTo>
                    <a:lnTo>
                      <a:pt x="0" y="96131"/>
                    </a:lnTo>
                    <a:close/>
                  </a:path>
                </a:pathLst>
              </a:custGeom>
              <a:solidFill>
                <a:schemeClr val="accent5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103" name="Freeform: Shape 102">
                <a:extLst>
                  <a:ext uri="{FF2B5EF4-FFF2-40B4-BE49-F238E27FC236}">
                    <a16:creationId xmlns:a16="http://schemas.microsoft.com/office/drawing/2014/main" id="{88CC4ECF-2A0F-21A6-849D-80E6F77AD79C}"/>
                  </a:ext>
                </a:extLst>
              </p:cNvPr>
              <p:cNvSpPr/>
              <p:nvPr/>
            </p:nvSpPr>
            <p:spPr>
              <a:xfrm rot="-2700000">
                <a:off x="6488283" y="1822365"/>
                <a:ext cx="105709" cy="9791"/>
              </a:xfrm>
              <a:custGeom>
                <a:avLst/>
                <a:gdLst>
                  <a:gd name="connsiteX0" fmla="*/ 0 w 105709"/>
                  <a:gd name="connsiteY0" fmla="*/ 0 h 9791"/>
                  <a:gd name="connsiteX1" fmla="*/ 105710 w 105709"/>
                  <a:gd name="connsiteY1" fmla="*/ 0 h 9791"/>
                  <a:gd name="connsiteX2" fmla="*/ 105710 w 105709"/>
                  <a:gd name="connsiteY2" fmla="*/ 9791 h 9791"/>
                  <a:gd name="connsiteX3" fmla="*/ 0 w 105709"/>
                  <a:gd name="connsiteY3" fmla="*/ 9791 h 97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05709" h="9791">
                    <a:moveTo>
                      <a:pt x="0" y="0"/>
                    </a:moveTo>
                    <a:lnTo>
                      <a:pt x="105710" y="0"/>
                    </a:lnTo>
                    <a:lnTo>
                      <a:pt x="105710" y="9791"/>
                    </a:lnTo>
                    <a:lnTo>
                      <a:pt x="0" y="9791"/>
                    </a:lnTo>
                    <a:close/>
                  </a:path>
                </a:pathLst>
              </a:custGeom>
              <a:solidFill>
                <a:schemeClr val="accent5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104" name="Freeform: Shape 103">
                <a:extLst>
                  <a:ext uri="{FF2B5EF4-FFF2-40B4-BE49-F238E27FC236}">
                    <a16:creationId xmlns:a16="http://schemas.microsoft.com/office/drawing/2014/main" id="{519129DF-A26E-49E6-814B-748F75E7B8D9}"/>
                  </a:ext>
                </a:extLst>
              </p:cNvPr>
              <p:cNvSpPr/>
              <p:nvPr/>
            </p:nvSpPr>
            <p:spPr>
              <a:xfrm rot="-2700000">
                <a:off x="6493745" y="2050521"/>
                <a:ext cx="105709" cy="9791"/>
              </a:xfrm>
              <a:custGeom>
                <a:avLst/>
                <a:gdLst>
                  <a:gd name="connsiteX0" fmla="*/ 0 w 105709"/>
                  <a:gd name="connsiteY0" fmla="*/ 0 h 9791"/>
                  <a:gd name="connsiteX1" fmla="*/ 105710 w 105709"/>
                  <a:gd name="connsiteY1" fmla="*/ 0 h 9791"/>
                  <a:gd name="connsiteX2" fmla="*/ 105710 w 105709"/>
                  <a:gd name="connsiteY2" fmla="*/ 9791 h 9791"/>
                  <a:gd name="connsiteX3" fmla="*/ 0 w 105709"/>
                  <a:gd name="connsiteY3" fmla="*/ 9791 h 97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05709" h="9791">
                    <a:moveTo>
                      <a:pt x="0" y="0"/>
                    </a:moveTo>
                    <a:lnTo>
                      <a:pt x="105710" y="0"/>
                    </a:lnTo>
                    <a:lnTo>
                      <a:pt x="105710" y="9791"/>
                    </a:lnTo>
                    <a:lnTo>
                      <a:pt x="0" y="9791"/>
                    </a:lnTo>
                    <a:close/>
                  </a:path>
                </a:pathLst>
              </a:custGeom>
              <a:solidFill>
                <a:schemeClr val="accent5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105" name="Freeform: Shape 104">
                <a:extLst>
                  <a:ext uri="{FF2B5EF4-FFF2-40B4-BE49-F238E27FC236}">
                    <a16:creationId xmlns:a16="http://schemas.microsoft.com/office/drawing/2014/main" id="{496596C9-2875-8DDD-3524-6A7F183D35D6}"/>
                  </a:ext>
                </a:extLst>
              </p:cNvPr>
              <p:cNvSpPr/>
              <p:nvPr/>
            </p:nvSpPr>
            <p:spPr>
              <a:xfrm rot="-2700000">
                <a:off x="6711694" y="2047475"/>
                <a:ext cx="105709" cy="9791"/>
              </a:xfrm>
              <a:custGeom>
                <a:avLst/>
                <a:gdLst>
                  <a:gd name="connsiteX0" fmla="*/ 0 w 105709"/>
                  <a:gd name="connsiteY0" fmla="*/ 0 h 9791"/>
                  <a:gd name="connsiteX1" fmla="*/ 105710 w 105709"/>
                  <a:gd name="connsiteY1" fmla="*/ 0 h 9791"/>
                  <a:gd name="connsiteX2" fmla="*/ 105710 w 105709"/>
                  <a:gd name="connsiteY2" fmla="*/ 9791 h 9791"/>
                  <a:gd name="connsiteX3" fmla="*/ 0 w 105709"/>
                  <a:gd name="connsiteY3" fmla="*/ 9791 h 97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05709" h="9791">
                    <a:moveTo>
                      <a:pt x="0" y="0"/>
                    </a:moveTo>
                    <a:lnTo>
                      <a:pt x="105710" y="0"/>
                    </a:lnTo>
                    <a:lnTo>
                      <a:pt x="105710" y="9791"/>
                    </a:lnTo>
                    <a:lnTo>
                      <a:pt x="0" y="9791"/>
                    </a:lnTo>
                    <a:close/>
                  </a:path>
                </a:pathLst>
              </a:custGeom>
              <a:solidFill>
                <a:schemeClr val="accent5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106" name="Freeform: Shape 105">
                <a:extLst>
                  <a:ext uri="{FF2B5EF4-FFF2-40B4-BE49-F238E27FC236}">
                    <a16:creationId xmlns:a16="http://schemas.microsoft.com/office/drawing/2014/main" id="{BE1E4926-776D-C157-C2A0-25094C76D0BD}"/>
                  </a:ext>
                </a:extLst>
              </p:cNvPr>
              <p:cNvSpPr/>
              <p:nvPr/>
            </p:nvSpPr>
            <p:spPr>
              <a:xfrm rot="-2700000">
                <a:off x="6642927" y="1672558"/>
                <a:ext cx="9791" cy="96130"/>
              </a:xfrm>
              <a:custGeom>
                <a:avLst/>
                <a:gdLst>
                  <a:gd name="connsiteX0" fmla="*/ 0 w 9791"/>
                  <a:gd name="connsiteY0" fmla="*/ 0 h 96130"/>
                  <a:gd name="connsiteX1" fmla="*/ 9791 w 9791"/>
                  <a:gd name="connsiteY1" fmla="*/ 0 h 96130"/>
                  <a:gd name="connsiteX2" fmla="*/ 9791 w 9791"/>
                  <a:gd name="connsiteY2" fmla="*/ 96131 h 96130"/>
                  <a:gd name="connsiteX3" fmla="*/ 0 w 9791"/>
                  <a:gd name="connsiteY3" fmla="*/ 96131 h 961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791" h="96130">
                    <a:moveTo>
                      <a:pt x="0" y="0"/>
                    </a:moveTo>
                    <a:lnTo>
                      <a:pt x="9791" y="0"/>
                    </a:lnTo>
                    <a:lnTo>
                      <a:pt x="9791" y="96131"/>
                    </a:lnTo>
                    <a:lnTo>
                      <a:pt x="0" y="96131"/>
                    </a:lnTo>
                    <a:close/>
                  </a:path>
                </a:pathLst>
              </a:custGeom>
              <a:solidFill>
                <a:schemeClr val="accent5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107" name="Freeform: Shape 106">
                <a:extLst>
                  <a:ext uri="{FF2B5EF4-FFF2-40B4-BE49-F238E27FC236}">
                    <a16:creationId xmlns:a16="http://schemas.microsoft.com/office/drawing/2014/main" id="{5957940C-9C76-D6DE-065E-BA55E1042E5B}"/>
                  </a:ext>
                </a:extLst>
              </p:cNvPr>
              <p:cNvSpPr/>
              <p:nvPr/>
            </p:nvSpPr>
            <p:spPr>
              <a:xfrm rot="-2700000">
                <a:off x="6869388" y="1679667"/>
                <a:ext cx="9791" cy="96130"/>
              </a:xfrm>
              <a:custGeom>
                <a:avLst/>
                <a:gdLst>
                  <a:gd name="connsiteX0" fmla="*/ 0 w 9791"/>
                  <a:gd name="connsiteY0" fmla="*/ 0 h 96130"/>
                  <a:gd name="connsiteX1" fmla="*/ 9791 w 9791"/>
                  <a:gd name="connsiteY1" fmla="*/ 0 h 96130"/>
                  <a:gd name="connsiteX2" fmla="*/ 9791 w 9791"/>
                  <a:gd name="connsiteY2" fmla="*/ 96131 h 96130"/>
                  <a:gd name="connsiteX3" fmla="*/ 0 w 9791"/>
                  <a:gd name="connsiteY3" fmla="*/ 96131 h 961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791" h="96130">
                    <a:moveTo>
                      <a:pt x="0" y="0"/>
                    </a:moveTo>
                    <a:lnTo>
                      <a:pt x="9791" y="0"/>
                    </a:lnTo>
                    <a:lnTo>
                      <a:pt x="9791" y="96131"/>
                    </a:lnTo>
                    <a:lnTo>
                      <a:pt x="0" y="96131"/>
                    </a:lnTo>
                    <a:close/>
                  </a:path>
                </a:pathLst>
              </a:custGeom>
              <a:solidFill>
                <a:schemeClr val="accent5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108" name="Freeform: Shape 107">
                <a:extLst>
                  <a:ext uri="{FF2B5EF4-FFF2-40B4-BE49-F238E27FC236}">
                    <a16:creationId xmlns:a16="http://schemas.microsoft.com/office/drawing/2014/main" id="{4073CCDC-ED16-188C-13D9-8F7BBF0ADE56}"/>
                  </a:ext>
                </a:extLst>
              </p:cNvPr>
              <p:cNvSpPr/>
              <p:nvPr/>
            </p:nvSpPr>
            <p:spPr>
              <a:xfrm rot="-2700000">
                <a:off x="6706315" y="1604405"/>
                <a:ext cx="105709" cy="9791"/>
              </a:xfrm>
              <a:custGeom>
                <a:avLst/>
                <a:gdLst>
                  <a:gd name="connsiteX0" fmla="*/ 0 w 105709"/>
                  <a:gd name="connsiteY0" fmla="*/ 0 h 9791"/>
                  <a:gd name="connsiteX1" fmla="*/ 105710 w 105709"/>
                  <a:gd name="connsiteY1" fmla="*/ 0 h 9791"/>
                  <a:gd name="connsiteX2" fmla="*/ 105710 w 105709"/>
                  <a:gd name="connsiteY2" fmla="*/ 9791 h 9791"/>
                  <a:gd name="connsiteX3" fmla="*/ 0 w 105709"/>
                  <a:gd name="connsiteY3" fmla="*/ 9791 h 97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05709" h="9791">
                    <a:moveTo>
                      <a:pt x="0" y="0"/>
                    </a:moveTo>
                    <a:lnTo>
                      <a:pt x="105710" y="0"/>
                    </a:lnTo>
                    <a:lnTo>
                      <a:pt x="105710" y="9791"/>
                    </a:lnTo>
                    <a:lnTo>
                      <a:pt x="0" y="9791"/>
                    </a:lnTo>
                    <a:close/>
                  </a:path>
                </a:pathLst>
              </a:custGeom>
              <a:solidFill>
                <a:schemeClr val="accent5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119" name="Freeform: Shape 118">
                <a:extLst>
                  <a:ext uri="{FF2B5EF4-FFF2-40B4-BE49-F238E27FC236}">
                    <a16:creationId xmlns:a16="http://schemas.microsoft.com/office/drawing/2014/main" id="{25BFE8FC-71C1-CB0A-5476-940E94B8B11F}"/>
                  </a:ext>
                </a:extLst>
              </p:cNvPr>
              <p:cNvSpPr/>
              <p:nvPr/>
            </p:nvSpPr>
            <p:spPr>
              <a:xfrm rot="-2700000">
                <a:off x="6711777" y="1832501"/>
                <a:ext cx="105709" cy="9791"/>
              </a:xfrm>
              <a:custGeom>
                <a:avLst/>
                <a:gdLst>
                  <a:gd name="connsiteX0" fmla="*/ 0 w 105709"/>
                  <a:gd name="connsiteY0" fmla="*/ 0 h 9791"/>
                  <a:gd name="connsiteX1" fmla="*/ 105710 w 105709"/>
                  <a:gd name="connsiteY1" fmla="*/ 0 h 9791"/>
                  <a:gd name="connsiteX2" fmla="*/ 105710 w 105709"/>
                  <a:gd name="connsiteY2" fmla="*/ 9791 h 9791"/>
                  <a:gd name="connsiteX3" fmla="*/ 0 w 105709"/>
                  <a:gd name="connsiteY3" fmla="*/ 9791 h 97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05709" h="9791">
                    <a:moveTo>
                      <a:pt x="0" y="0"/>
                    </a:moveTo>
                    <a:lnTo>
                      <a:pt x="105710" y="0"/>
                    </a:lnTo>
                    <a:lnTo>
                      <a:pt x="105710" y="9791"/>
                    </a:lnTo>
                    <a:lnTo>
                      <a:pt x="0" y="9791"/>
                    </a:lnTo>
                    <a:close/>
                  </a:path>
                </a:pathLst>
              </a:custGeom>
              <a:solidFill>
                <a:schemeClr val="accent5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120" name="Freeform: Shape 119">
                <a:extLst>
                  <a:ext uri="{FF2B5EF4-FFF2-40B4-BE49-F238E27FC236}">
                    <a16:creationId xmlns:a16="http://schemas.microsoft.com/office/drawing/2014/main" id="{BE39B56F-4E94-463B-9AF9-D467EE9DF3ED}"/>
                  </a:ext>
                </a:extLst>
              </p:cNvPr>
              <p:cNvSpPr/>
              <p:nvPr/>
            </p:nvSpPr>
            <p:spPr>
              <a:xfrm rot="-2700000">
                <a:off x="6866368" y="1897638"/>
                <a:ext cx="9791" cy="96130"/>
              </a:xfrm>
              <a:custGeom>
                <a:avLst/>
                <a:gdLst>
                  <a:gd name="connsiteX0" fmla="*/ 0 w 9791"/>
                  <a:gd name="connsiteY0" fmla="*/ 0 h 96130"/>
                  <a:gd name="connsiteX1" fmla="*/ 9791 w 9791"/>
                  <a:gd name="connsiteY1" fmla="*/ 0 h 96130"/>
                  <a:gd name="connsiteX2" fmla="*/ 9791 w 9791"/>
                  <a:gd name="connsiteY2" fmla="*/ 96131 h 96130"/>
                  <a:gd name="connsiteX3" fmla="*/ 0 w 9791"/>
                  <a:gd name="connsiteY3" fmla="*/ 96131 h 961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791" h="96130">
                    <a:moveTo>
                      <a:pt x="0" y="0"/>
                    </a:moveTo>
                    <a:lnTo>
                      <a:pt x="9791" y="0"/>
                    </a:lnTo>
                    <a:lnTo>
                      <a:pt x="9791" y="96131"/>
                    </a:lnTo>
                    <a:lnTo>
                      <a:pt x="0" y="96131"/>
                    </a:lnTo>
                    <a:close/>
                  </a:path>
                </a:pathLst>
              </a:custGeom>
              <a:solidFill>
                <a:schemeClr val="accent5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121" name="Freeform: Shape 120">
                <a:extLst>
                  <a:ext uri="{FF2B5EF4-FFF2-40B4-BE49-F238E27FC236}">
                    <a16:creationId xmlns:a16="http://schemas.microsoft.com/office/drawing/2014/main" id="{A3288A68-84CC-94F1-ED86-8606D8F6C6D7}"/>
                  </a:ext>
                </a:extLst>
              </p:cNvPr>
              <p:cNvSpPr/>
              <p:nvPr/>
            </p:nvSpPr>
            <p:spPr>
              <a:xfrm>
                <a:off x="6941762" y="1812792"/>
                <a:ext cx="56796" cy="62391"/>
              </a:xfrm>
              <a:custGeom>
                <a:avLst/>
                <a:gdLst>
                  <a:gd name="connsiteX0" fmla="*/ 56797 w 56796"/>
                  <a:gd name="connsiteY0" fmla="*/ 12504 h 62391"/>
                  <a:gd name="connsiteX1" fmla="*/ 6909 w 56796"/>
                  <a:gd name="connsiteY1" fmla="*/ 62392 h 62391"/>
                  <a:gd name="connsiteX2" fmla="*/ 0 w 56796"/>
                  <a:gd name="connsiteY2" fmla="*/ 55483 h 62391"/>
                  <a:gd name="connsiteX3" fmla="*/ 55483 w 56796"/>
                  <a:gd name="connsiteY3" fmla="*/ 0 h 62391"/>
                  <a:gd name="connsiteX4" fmla="*/ 56797 w 56796"/>
                  <a:gd name="connsiteY4" fmla="*/ 12504 h 623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6796" h="62391">
                    <a:moveTo>
                      <a:pt x="56797" y="12504"/>
                    </a:moveTo>
                    <a:lnTo>
                      <a:pt x="6909" y="62392"/>
                    </a:lnTo>
                    <a:lnTo>
                      <a:pt x="0" y="55483"/>
                    </a:lnTo>
                    <a:lnTo>
                      <a:pt x="55483" y="0"/>
                    </a:lnTo>
                    <a:cubicBezTo>
                      <a:pt x="55991" y="4111"/>
                      <a:pt x="56415" y="8308"/>
                      <a:pt x="56797" y="12504"/>
                    </a:cubicBezTo>
                    <a:close/>
                  </a:path>
                </a:pathLst>
              </a:custGeom>
              <a:solidFill>
                <a:schemeClr val="accent5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122" name="Freeform: Shape 121">
                <a:extLst>
                  <a:ext uri="{FF2B5EF4-FFF2-40B4-BE49-F238E27FC236}">
                    <a16:creationId xmlns:a16="http://schemas.microsoft.com/office/drawing/2014/main" id="{470E163D-F803-9DDE-D6DC-4F5E7C9F2C5D}"/>
                  </a:ext>
                </a:extLst>
              </p:cNvPr>
              <p:cNvSpPr/>
              <p:nvPr/>
            </p:nvSpPr>
            <p:spPr>
              <a:xfrm>
                <a:off x="6947145" y="2053373"/>
                <a:ext cx="43021" cy="49930"/>
              </a:xfrm>
              <a:custGeom>
                <a:avLst/>
                <a:gdLst>
                  <a:gd name="connsiteX0" fmla="*/ 43021 w 43021"/>
                  <a:gd name="connsiteY0" fmla="*/ 42 h 49930"/>
                  <a:gd name="connsiteX1" fmla="*/ 40563 w 43021"/>
                  <a:gd name="connsiteY1" fmla="*/ 16318 h 49930"/>
                  <a:gd name="connsiteX2" fmla="*/ 6951 w 43021"/>
                  <a:gd name="connsiteY2" fmla="*/ 49930 h 49930"/>
                  <a:gd name="connsiteX3" fmla="*/ 0 w 43021"/>
                  <a:gd name="connsiteY3" fmla="*/ 42979 h 49930"/>
                  <a:gd name="connsiteX4" fmla="*/ 42979 w 43021"/>
                  <a:gd name="connsiteY4" fmla="*/ 0 h 499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3021" h="49930">
                    <a:moveTo>
                      <a:pt x="43021" y="42"/>
                    </a:moveTo>
                    <a:cubicBezTo>
                      <a:pt x="42259" y="5468"/>
                      <a:pt x="41453" y="10935"/>
                      <a:pt x="40563" y="16318"/>
                    </a:cubicBezTo>
                    <a:lnTo>
                      <a:pt x="6951" y="49930"/>
                    </a:lnTo>
                    <a:lnTo>
                      <a:pt x="0" y="42979"/>
                    </a:lnTo>
                    <a:lnTo>
                      <a:pt x="42979" y="0"/>
                    </a:lnTo>
                    <a:close/>
                  </a:path>
                </a:pathLst>
              </a:custGeom>
              <a:solidFill>
                <a:schemeClr val="accent5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</p:grpSp>
        <p:sp>
          <p:nvSpPr>
            <p:cNvPr id="50" name="Freeform: Shape 49">
              <a:extLst>
                <a:ext uri="{FF2B5EF4-FFF2-40B4-BE49-F238E27FC236}">
                  <a16:creationId xmlns:a16="http://schemas.microsoft.com/office/drawing/2014/main" id="{4493209D-7B61-A3C5-E500-3233C0A3DE78}"/>
                </a:ext>
              </a:extLst>
            </p:cNvPr>
            <p:cNvSpPr/>
            <p:nvPr/>
          </p:nvSpPr>
          <p:spPr>
            <a:xfrm flipH="1">
              <a:off x="926891" y="4505021"/>
              <a:ext cx="1450746" cy="797451"/>
            </a:xfrm>
            <a:custGeom>
              <a:avLst/>
              <a:gdLst>
                <a:gd name="connsiteX0" fmla="*/ 303 w 1158198"/>
                <a:gd name="connsiteY0" fmla="*/ 0 h 636642"/>
                <a:gd name="connsiteX1" fmla="*/ 32262 w 1158198"/>
                <a:gd name="connsiteY1" fmla="*/ 529821 h 636642"/>
                <a:gd name="connsiteX2" fmla="*/ 273436 w 1158198"/>
                <a:gd name="connsiteY2" fmla="*/ 636548 h 636642"/>
                <a:gd name="connsiteX3" fmla="*/ 789100 w 1158198"/>
                <a:gd name="connsiteY3" fmla="*/ 563433 h 636642"/>
                <a:gd name="connsiteX4" fmla="*/ 1150226 w 1158198"/>
                <a:gd name="connsiteY4" fmla="*/ 575343 h 636642"/>
                <a:gd name="connsiteX5" fmla="*/ 963899 w 1158198"/>
                <a:gd name="connsiteY5" fmla="*/ 445389 h 636642"/>
                <a:gd name="connsiteX6" fmla="*/ 778673 w 1158198"/>
                <a:gd name="connsiteY6" fmla="*/ 445389 h 636642"/>
                <a:gd name="connsiteX7" fmla="*/ 273436 w 1158198"/>
                <a:gd name="connsiteY7" fmla="*/ 395924 h 636642"/>
                <a:gd name="connsiteX8" fmla="*/ 276064 w 1158198"/>
                <a:gd name="connsiteY8" fmla="*/ 25516 h 636642"/>
                <a:gd name="connsiteX9" fmla="*/ 261 w 1158198"/>
                <a:gd name="connsiteY9" fmla="*/ 0 h 6366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58198" h="636642">
                  <a:moveTo>
                    <a:pt x="303" y="0"/>
                  </a:moveTo>
                  <a:cubicBezTo>
                    <a:pt x="-672" y="179419"/>
                    <a:pt x="-1307" y="436869"/>
                    <a:pt x="32262" y="529821"/>
                  </a:cubicBezTo>
                  <a:cubicBezTo>
                    <a:pt x="70791" y="636548"/>
                    <a:pt x="111608" y="637268"/>
                    <a:pt x="273436" y="636548"/>
                  </a:cubicBezTo>
                  <a:cubicBezTo>
                    <a:pt x="436748" y="635827"/>
                    <a:pt x="758625" y="574368"/>
                    <a:pt x="789100" y="563433"/>
                  </a:cubicBezTo>
                  <a:cubicBezTo>
                    <a:pt x="848864" y="541943"/>
                    <a:pt x="1130898" y="670541"/>
                    <a:pt x="1150226" y="575343"/>
                  </a:cubicBezTo>
                  <a:cubicBezTo>
                    <a:pt x="1186805" y="394950"/>
                    <a:pt x="1092836" y="582421"/>
                    <a:pt x="963899" y="445389"/>
                  </a:cubicBezTo>
                  <a:cubicBezTo>
                    <a:pt x="919606" y="398298"/>
                    <a:pt x="822754" y="434792"/>
                    <a:pt x="778673" y="445389"/>
                  </a:cubicBezTo>
                  <a:cubicBezTo>
                    <a:pt x="734592" y="455985"/>
                    <a:pt x="273436" y="395924"/>
                    <a:pt x="273436" y="395924"/>
                  </a:cubicBezTo>
                  <a:cubicBezTo>
                    <a:pt x="273436" y="395924"/>
                    <a:pt x="278268" y="142077"/>
                    <a:pt x="276064" y="25516"/>
                  </a:cubicBezTo>
                  <a:cubicBezTo>
                    <a:pt x="124112" y="32806"/>
                    <a:pt x="261" y="0"/>
                    <a:pt x="261" y="0"/>
                  </a:cubicBezTo>
                  <a:close/>
                </a:path>
              </a:pathLst>
            </a:custGeom>
            <a:solidFill>
              <a:srgbClr val="FACAAC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1" name="Freeform: Shape 50">
              <a:extLst>
                <a:ext uri="{FF2B5EF4-FFF2-40B4-BE49-F238E27FC236}">
                  <a16:creationId xmlns:a16="http://schemas.microsoft.com/office/drawing/2014/main" id="{C9F95241-C717-D6D5-C0EB-D48F6213E10E}"/>
                </a:ext>
              </a:extLst>
            </p:cNvPr>
            <p:cNvSpPr/>
            <p:nvPr/>
          </p:nvSpPr>
          <p:spPr>
            <a:xfrm flipH="1">
              <a:off x="627837" y="4162779"/>
              <a:ext cx="844148" cy="1090858"/>
            </a:xfrm>
            <a:custGeom>
              <a:avLst/>
              <a:gdLst>
                <a:gd name="connsiteX0" fmla="*/ 0 w 722590"/>
                <a:gd name="connsiteY0" fmla="*/ 5595 h 750887"/>
                <a:gd name="connsiteX1" fmla="*/ 374604 w 722590"/>
                <a:gd name="connsiteY1" fmla="*/ 743657 h 750887"/>
                <a:gd name="connsiteX2" fmla="*/ 722591 w 722590"/>
                <a:gd name="connsiteY2" fmla="*/ 247490 h 750887"/>
                <a:gd name="connsiteX3" fmla="*/ 374604 w 722590"/>
                <a:gd name="connsiteY3" fmla="*/ 162422 h 750887"/>
                <a:gd name="connsiteX4" fmla="*/ 348283 w 722590"/>
                <a:gd name="connsiteY4" fmla="*/ 291995 h 750887"/>
                <a:gd name="connsiteX5" fmla="*/ 134574 w 722590"/>
                <a:gd name="connsiteY5" fmla="*/ 0 h 750887"/>
                <a:gd name="connsiteX6" fmla="*/ 42 w 722590"/>
                <a:gd name="connsiteY6" fmla="*/ 5553 h 750887"/>
                <a:gd name="connsiteX0" fmla="*/ 0 w 722591"/>
                <a:gd name="connsiteY0" fmla="*/ 147541 h 892833"/>
                <a:gd name="connsiteX1" fmla="*/ 374604 w 722591"/>
                <a:gd name="connsiteY1" fmla="*/ 885603 h 892833"/>
                <a:gd name="connsiteX2" fmla="*/ 722591 w 722591"/>
                <a:gd name="connsiteY2" fmla="*/ 389436 h 892833"/>
                <a:gd name="connsiteX3" fmla="*/ 374604 w 722591"/>
                <a:gd name="connsiteY3" fmla="*/ 304368 h 892833"/>
                <a:gd name="connsiteX4" fmla="*/ 348283 w 722591"/>
                <a:gd name="connsiteY4" fmla="*/ 433941 h 892833"/>
                <a:gd name="connsiteX5" fmla="*/ 173102 w 722591"/>
                <a:gd name="connsiteY5" fmla="*/ 0 h 892833"/>
                <a:gd name="connsiteX6" fmla="*/ 42 w 722591"/>
                <a:gd name="connsiteY6" fmla="*/ 147499 h 892833"/>
                <a:gd name="connsiteX7" fmla="*/ 0 w 722591"/>
                <a:gd name="connsiteY7" fmla="*/ 147541 h 892833"/>
                <a:gd name="connsiteX0" fmla="*/ 52681 w 722549"/>
                <a:gd name="connsiteY0" fmla="*/ 13706 h 893842"/>
                <a:gd name="connsiteX1" fmla="*/ 374562 w 722549"/>
                <a:gd name="connsiteY1" fmla="*/ 885603 h 893842"/>
                <a:gd name="connsiteX2" fmla="*/ 722549 w 722549"/>
                <a:gd name="connsiteY2" fmla="*/ 389436 h 893842"/>
                <a:gd name="connsiteX3" fmla="*/ 374562 w 722549"/>
                <a:gd name="connsiteY3" fmla="*/ 304368 h 893842"/>
                <a:gd name="connsiteX4" fmla="*/ 348241 w 722549"/>
                <a:gd name="connsiteY4" fmla="*/ 433941 h 893842"/>
                <a:gd name="connsiteX5" fmla="*/ 173060 w 722549"/>
                <a:gd name="connsiteY5" fmla="*/ 0 h 893842"/>
                <a:gd name="connsiteX6" fmla="*/ 0 w 722549"/>
                <a:gd name="connsiteY6" fmla="*/ 147499 h 893842"/>
                <a:gd name="connsiteX7" fmla="*/ 52681 w 722549"/>
                <a:gd name="connsiteY7" fmla="*/ 13706 h 893842"/>
                <a:gd name="connsiteX0" fmla="*/ 52681 w 722549"/>
                <a:gd name="connsiteY0" fmla="*/ 13706 h 893842"/>
                <a:gd name="connsiteX1" fmla="*/ 374562 w 722549"/>
                <a:gd name="connsiteY1" fmla="*/ 885603 h 893842"/>
                <a:gd name="connsiteX2" fmla="*/ 722549 w 722549"/>
                <a:gd name="connsiteY2" fmla="*/ 389436 h 893842"/>
                <a:gd name="connsiteX3" fmla="*/ 374562 w 722549"/>
                <a:gd name="connsiteY3" fmla="*/ 304368 h 893842"/>
                <a:gd name="connsiteX4" fmla="*/ 348241 w 722549"/>
                <a:gd name="connsiteY4" fmla="*/ 433941 h 893842"/>
                <a:gd name="connsiteX5" fmla="*/ 173060 w 722549"/>
                <a:gd name="connsiteY5" fmla="*/ 0 h 893842"/>
                <a:gd name="connsiteX6" fmla="*/ 0 w 722549"/>
                <a:gd name="connsiteY6" fmla="*/ 147499 h 893842"/>
                <a:gd name="connsiteX7" fmla="*/ 52681 w 722549"/>
                <a:gd name="connsiteY7" fmla="*/ 13706 h 893842"/>
                <a:gd name="connsiteX0" fmla="*/ 52681 w 722549"/>
                <a:gd name="connsiteY0" fmla="*/ 13706 h 887886"/>
                <a:gd name="connsiteX1" fmla="*/ 374562 w 722549"/>
                <a:gd name="connsiteY1" fmla="*/ 885603 h 887886"/>
                <a:gd name="connsiteX2" fmla="*/ 722549 w 722549"/>
                <a:gd name="connsiteY2" fmla="*/ 389436 h 887886"/>
                <a:gd name="connsiteX3" fmla="*/ 374562 w 722549"/>
                <a:gd name="connsiteY3" fmla="*/ 304368 h 887886"/>
                <a:gd name="connsiteX4" fmla="*/ 348241 w 722549"/>
                <a:gd name="connsiteY4" fmla="*/ 433941 h 887886"/>
                <a:gd name="connsiteX5" fmla="*/ 173060 w 722549"/>
                <a:gd name="connsiteY5" fmla="*/ 0 h 887886"/>
                <a:gd name="connsiteX6" fmla="*/ 0 w 722549"/>
                <a:gd name="connsiteY6" fmla="*/ 147499 h 887886"/>
                <a:gd name="connsiteX7" fmla="*/ 52681 w 722549"/>
                <a:gd name="connsiteY7" fmla="*/ 13706 h 887886"/>
                <a:gd name="connsiteX0" fmla="*/ 0 w 669868"/>
                <a:gd name="connsiteY0" fmla="*/ 36634 h 910814"/>
                <a:gd name="connsiteX1" fmla="*/ 321881 w 669868"/>
                <a:gd name="connsiteY1" fmla="*/ 908531 h 910814"/>
                <a:gd name="connsiteX2" fmla="*/ 669868 w 669868"/>
                <a:gd name="connsiteY2" fmla="*/ 412364 h 910814"/>
                <a:gd name="connsiteX3" fmla="*/ 321881 w 669868"/>
                <a:gd name="connsiteY3" fmla="*/ 327296 h 910814"/>
                <a:gd name="connsiteX4" fmla="*/ 295560 w 669868"/>
                <a:gd name="connsiteY4" fmla="*/ 456869 h 910814"/>
                <a:gd name="connsiteX5" fmla="*/ 120379 w 669868"/>
                <a:gd name="connsiteY5" fmla="*/ 22928 h 910814"/>
                <a:gd name="connsiteX6" fmla="*/ 36542 w 669868"/>
                <a:gd name="connsiteY6" fmla="*/ 92 h 910814"/>
                <a:gd name="connsiteX7" fmla="*/ 0 w 669868"/>
                <a:gd name="connsiteY7" fmla="*/ 36634 h 910814"/>
                <a:gd name="connsiteX0" fmla="*/ 0 w 669868"/>
                <a:gd name="connsiteY0" fmla="*/ 36634 h 910814"/>
                <a:gd name="connsiteX1" fmla="*/ 321881 w 669868"/>
                <a:gd name="connsiteY1" fmla="*/ 908531 h 910814"/>
                <a:gd name="connsiteX2" fmla="*/ 669868 w 669868"/>
                <a:gd name="connsiteY2" fmla="*/ 412364 h 910814"/>
                <a:gd name="connsiteX3" fmla="*/ 321881 w 669868"/>
                <a:gd name="connsiteY3" fmla="*/ 327296 h 910814"/>
                <a:gd name="connsiteX4" fmla="*/ 295560 w 669868"/>
                <a:gd name="connsiteY4" fmla="*/ 456869 h 910814"/>
                <a:gd name="connsiteX5" fmla="*/ 120379 w 669868"/>
                <a:gd name="connsiteY5" fmla="*/ 22928 h 910814"/>
                <a:gd name="connsiteX6" fmla="*/ 36542 w 669868"/>
                <a:gd name="connsiteY6" fmla="*/ 92 h 910814"/>
                <a:gd name="connsiteX7" fmla="*/ 0 w 669868"/>
                <a:gd name="connsiteY7" fmla="*/ 36634 h 910814"/>
                <a:gd name="connsiteX0" fmla="*/ 0 w 669868"/>
                <a:gd name="connsiteY0" fmla="*/ 36634 h 910814"/>
                <a:gd name="connsiteX1" fmla="*/ 321881 w 669868"/>
                <a:gd name="connsiteY1" fmla="*/ 908531 h 910814"/>
                <a:gd name="connsiteX2" fmla="*/ 669868 w 669868"/>
                <a:gd name="connsiteY2" fmla="*/ 412364 h 910814"/>
                <a:gd name="connsiteX3" fmla="*/ 321881 w 669868"/>
                <a:gd name="connsiteY3" fmla="*/ 327296 h 910814"/>
                <a:gd name="connsiteX4" fmla="*/ 295560 w 669868"/>
                <a:gd name="connsiteY4" fmla="*/ 456869 h 910814"/>
                <a:gd name="connsiteX5" fmla="*/ 120379 w 669868"/>
                <a:gd name="connsiteY5" fmla="*/ 22928 h 910814"/>
                <a:gd name="connsiteX6" fmla="*/ 36542 w 669868"/>
                <a:gd name="connsiteY6" fmla="*/ 92 h 910814"/>
                <a:gd name="connsiteX7" fmla="*/ 0 w 669868"/>
                <a:gd name="connsiteY7" fmla="*/ 36634 h 910814"/>
                <a:gd name="connsiteX0" fmla="*/ 0 w 673924"/>
                <a:gd name="connsiteY0" fmla="*/ 73134 h 915456"/>
                <a:gd name="connsiteX1" fmla="*/ 325937 w 673924"/>
                <a:gd name="connsiteY1" fmla="*/ 908531 h 915456"/>
                <a:gd name="connsiteX2" fmla="*/ 673924 w 673924"/>
                <a:gd name="connsiteY2" fmla="*/ 412364 h 915456"/>
                <a:gd name="connsiteX3" fmla="*/ 325937 w 673924"/>
                <a:gd name="connsiteY3" fmla="*/ 327296 h 915456"/>
                <a:gd name="connsiteX4" fmla="*/ 299616 w 673924"/>
                <a:gd name="connsiteY4" fmla="*/ 456869 h 915456"/>
                <a:gd name="connsiteX5" fmla="*/ 124435 w 673924"/>
                <a:gd name="connsiteY5" fmla="*/ 22928 h 915456"/>
                <a:gd name="connsiteX6" fmla="*/ 40598 w 673924"/>
                <a:gd name="connsiteY6" fmla="*/ 92 h 915456"/>
                <a:gd name="connsiteX7" fmla="*/ 0 w 673924"/>
                <a:gd name="connsiteY7" fmla="*/ 73134 h 915456"/>
                <a:gd name="connsiteX0" fmla="*/ 0 w 673924"/>
                <a:gd name="connsiteY0" fmla="*/ 73110 h 915432"/>
                <a:gd name="connsiteX1" fmla="*/ 325937 w 673924"/>
                <a:gd name="connsiteY1" fmla="*/ 908507 h 915432"/>
                <a:gd name="connsiteX2" fmla="*/ 673924 w 673924"/>
                <a:gd name="connsiteY2" fmla="*/ 412340 h 915432"/>
                <a:gd name="connsiteX3" fmla="*/ 325937 w 673924"/>
                <a:gd name="connsiteY3" fmla="*/ 327272 h 915432"/>
                <a:gd name="connsiteX4" fmla="*/ 299616 w 673924"/>
                <a:gd name="connsiteY4" fmla="*/ 456845 h 915432"/>
                <a:gd name="connsiteX5" fmla="*/ 112269 w 673924"/>
                <a:gd name="connsiteY5" fmla="*/ 33043 h 915432"/>
                <a:gd name="connsiteX6" fmla="*/ 40598 w 673924"/>
                <a:gd name="connsiteY6" fmla="*/ 68 h 915432"/>
                <a:gd name="connsiteX7" fmla="*/ 0 w 673924"/>
                <a:gd name="connsiteY7" fmla="*/ 73110 h 915432"/>
                <a:gd name="connsiteX0" fmla="*/ 0 w 673924"/>
                <a:gd name="connsiteY0" fmla="*/ 73072 h 915394"/>
                <a:gd name="connsiteX1" fmla="*/ 325937 w 673924"/>
                <a:gd name="connsiteY1" fmla="*/ 908469 h 915394"/>
                <a:gd name="connsiteX2" fmla="*/ 673924 w 673924"/>
                <a:gd name="connsiteY2" fmla="*/ 412302 h 915394"/>
                <a:gd name="connsiteX3" fmla="*/ 325937 w 673924"/>
                <a:gd name="connsiteY3" fmla="*/ 327234 h 915394"/>
                <a:gd name="connsiteX4" fmla="*/ 299616 w 673924"/>
                <a:gd name="connsiteY4" fmla="*/ 456807 h 915394"/>
                <a:gd name="connsiteX5" fmla="*/ 98075 w 673924"/>
                <a:gd name="connsiteY5" fmla="*/ 83700 h 915394"/>
                <a:gd name="connsiteX6" fmla="*/ 40598 w 673924"/>
                <a:gd name="connsiteY6" fmla="*/ 30 h 915394"/>
                <a:gd name="connsiteX7" fmla="*/ 0 w 673924"/>
                <a:gd name="connsiteY7" fmla="*/ 73072 h 915394"/>
                <a:gd name="connsiteX0" fmla="*/ 0 w 673924"/>
                <a:gd name="connsiteY0" fmla="*/ 73081 h 915403"/>
                <a:gd name="connsiteX1" fmla="*/ 325937 w 673924"/>
                <a:gd name="connsiteY1" fmla="*/ 908478 h 915403"/>
                <a:gd name="connsiteX2" fmla="*/ 673924 w 673924"/>
                <a:gd name="connsiteY2" fmla="*/ 412311 h 915403"/>
                <a:gd name="connsiteX3" fmla="*/ 325937 w 673924"/>
                <a:gd name="connsiteY3" fmla="*/ 327243 h 915403"/>
                <a:gd name="connsiteX4" fmla="*/ 299616 w 673924"/>
                <a:gd name="connsiteY4" fmla="*/ 456816 h 915403"/>
                <a:gd name="connsiteX5" fmla="*/ 124436 w 673924"/>
                <a:gd name="connsiteY5" fmla="*/ 59376 h 915403"/>
                <a:gd name="connsiteX6" fmla="*/ 40598 w 673924"/>
                <a:gd name="connsiteY6" fmla="*/ 39 h 915403"/>
                <a:gd name="connsiteX7" fmla="*/ 0 w 673924"/>
                <a:gd name="connsiteY7" fmla="*/ 73081 h 915403"/>
                <a:gd name="connsiteX0" fmla="*/ 0 w 673924"/>
                <a:gd name="connsiteY0" fmla="*/ 28561 h 870883"/>
                <a:gd name="connsiteX1" fmla="*/ 325937 w 673924"/>
                <a:gd name="connsiteY1" fmla="*/ 863958 h 870883"/>
                <a:gd name="connsiteX2" fmla="*/ 673924 w 673924"/>
                <a:gd name="connsiteY2" fmla="*/ 367791 h 870883"/>
                <a:gd name="connsiteX3" fmla="*/ 325937 w 673924"/>
                <a:gd name="connsiteY3" fmla="*/ 282723 h 870883"/>
                <a:gd name="connsiteX4" fmla="*/ 299616 w 673924"/>
                <a:gd name="connsiteY4" fmla="*/ 412296 h 870883"/>
                <a:gd name="connsiteX5" fmla="*/ 124436 w 673924"/>
                <a:gd name="connsiteY5" fmla="*/ 14856 h 870883"/>
                <a:gd name="connsiteX6" fmla="*/ 42626 w 673924"/>
                <a:gd name="connsiteY6" fmla="*/ 131 h 870883"/>
                <a:gd name="connsiteX7" fmla="*/ 0 w 673924"/>
                <a:gd name="connsiteY7" fmla="*/ 28561 h 870883"/>
                <a:gd name="connsiteX0" fmla="*/ 0 w 673924"/>
                <a:gd name="connsiteY0" fmla="*/ 28561 h 870883"/>
                <a:gd name="connsiteX1" fmla="*/ 325937 w 673924"/>
                <a:gd name="connsiteY1" fmla="*/ 863958 h 870883"/>
                <a:gd name="connsiteX2" fmla="*/ 673924 w 673924"/>
                <a:gd name="connsiteY2" fmla="*/ 367791 h 870883"/>
                <a:gd name="connsiteX3" fmla="*/ 325937 w 673924"/>
                <a:gd name="connsiteY3" fmla="*/ 282723 h 870883"/>
                <a:gd name="connsiteX4" fmla="*/ 299616 w 673924"/>
                <a:gd name="connsiteY4" fmla="*/ 412296 h 870883"/>
                <a:gd name="connsiteX5" fmla="*/ 124436 w 673924"/>
                <a:gd name="connsiteY5" fmla="*/ 14856 h 870883"/>
                <a:gd name="connsiteX6" fmla="*/ 42626 w 673924"/>
                <a:gd name="connsiteY6" fmla="*/ 131 h 870883"/>
                <a:gd name="connsiteX7" fmla="*/ 0 w 673924"/>
                <a:gd name="connsiteY7" fmla="*/ 28561 h 870883"/>
                <a:gd name="connsiteX0" fmla="*/ 0 w 673924"/>
                <a:gd name="connsiteY0" fmla="*/ 28561 h 870883"/>
                <a:gd name="connsiteX1" fmla="*/ 325937 w 673924"/>
                <a:gd name="connsiteY1" fmla="*/ 863958 h 870883"/>
                <a:gd name="connsiteX2" fmla="*/ 673924 w 673924"/>
                <a:gd name="connsiteY2" fmla="*/ 367791 h 870883"/>
                <a:gd name="connsiteX3" fmla="*/ 325937 w 673924"/>
                <a:gd name="connsiteY3" fmla="*/ 282723 h 870883"/>
                <a:gd name="connsiteX4" fmla="*/ 299616 w 673924"/>
                <a:gd name="connsiteY4" fmla="*/ 412296 h 870883"/>
                <a:gd name="connsiteX5" fmla="*/ 124436 w 673924"/>
                <a:gd name="connsiteY5" fmla="*/ 14856 h 870883"/>
                <a:gd name="connsiteX6" fmla="*/ 42626 w 673924"/>
                <a:gd name="connsiteY6" fmla="*/ 131 h 870883"/>
                <a:gd name="connsiteX7" fmla="*/ 0 w 673924"/>
                <a:gd name="connsiteY7" fmla="*/ 28561 h 870883"/>
                <a:gd name="connsiteX0" fmla="*/ 0 w 673924"/>
                <a:gd name="connsiteY0" fmla="*/ 28561 h 870883"/>
                <a:gd name="connsiteX1" fmla="*/ 325937 w 673924"/>
                <a:gd name="connsiteY1" fmla="*/ 863958 h 870883"/>
                <a:gd name="connsiteX2" fmla="*/ 673924 w 673924"/>
                <a:gd name="connsiteY2" fmla="*/ 367791 h 870883"/>
                <a:gd name="connsiteX3" fmla="*/ 325937 w 673924"/>
                <a:gd name="connsiteY3" fmla="*/ 282723 h 870883"/>
                <a:gd name="connsiteX4" fmla="*/ 299616 w 673924"/>
                <a:gd name="connsiteY4" fmla="*/ 412296 h 870883"/>
                <a:gd name="connsiteX5" fmla="*/ 124436 w 673924"/>
                <a:gd name="connsiteY5" fmla="*/ 14856 h 870883"/>
                <a:gd name="connsiteX6" fmla="*/ 42626 w 673924"/>
                <a:gd name="connsiteY6" fmla="*/ 131 h 870883"/>
                <a:gd name="connsiteX7" fmla="*/ 0 w 673924"/>
                <a:gd name="connsiteY7" fmla="*/ 28561 h 870883"/>
                <a:gd name="connsiteX0" fmla="*/ 0 w 673924"/>
                <a:gd name="connsiteY0" fmla="*/ 28561 h 870883"/>
                <a:gd name="connsiteX1" fmla="*/ 325937 w 673924"/>
                <a:gd name="connsiteY1" fmla="*/ 863958 h 870883"/>
                <a:gd name="connsiteX2" fmla="*/ 673924 w 673924"/>
                <a:gd name="connsiteY2" fmla="*/ 367791 h 870883"/>
                <a:gd name="connsiteX3" fmla="*/ 325937 w 673924"/>
                <a:gd name="connsiteY3" fmla="*/ 282723 h 870883"/>
                <a:gd name="connsiteX4" fmla="*/ 299616 w 673924"/>
                <a:gd name="connsiteY4" fmla="*/ 412296 h 870883"/>
                <a:gd name="connsiteX5" fmla="*/ 124436 w 673924"/>
                <a:gd name="connsiteY5" fmla="*/ 14856 h 870883"/>
                <a:gd name="connsiteX6" fmla="*/ 42626 w 673924"/>
                <a:gd name="connsiteY6" fmla="*/ 131 h 870883"/>
                <a:gd name="connsiteX7" fmla="*/ 0 w 673924"/>
                <a:gd name="connsiteY7" fmla="*/ 28561 h 8708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673924" h="870883">
                  <a:moveTo>
                    <a:pt x="0" y="28561"/>
                  </a:moveTo>
                  <a:cubicBezTo>
                    <a:pt x="97383" y="631581"/>
                    <a:pt x="213616" y="807420"/>
                    <a:pt x="325937" y="863958"/>
                  </a:cubicBezTo>
                  <a:cubicBezTo>
                    <a:pt x="438258" y="920496"/>
                    <a:pt x="586609" y="619731"/>
                    <a:pt x="673924" y="367791"/>
                  </a:cubicBezTo>
                  <a:cubicBezTo>
                    <a:pt x="673924" y="367791"/>
                    <a:pt x="475177" y="350455"/>
                    <a:pt x="325937" y="282723"/>
                  </a:cubicBezTo>
                  <a:cubicBezTo>
                    <a:pt x="318223" y="315741"/>
                    <a:pt x="299616" y="412296"/>
                    <a:pt x="299616" y="412296"/>
                  </a:cubicBezTo>
                  <a:cubicBezTo>
                    <a:pt x="299616" y="412296"/>
                    <a:pt x="169644" y="75358"/>
                    <a:pt x="124436" y="14856"/>
                  </a:cubicBezTo>
                  <a:cubicBezTo>
                    <a:pt x="79592" y="16707"/>
                    <a:pt x="87470" y="-1720"/>
                    <a:pt x="42626" y="131"/>
                  </a:cubicBezTo>
                  <a:lnTo>
                    <a:pt x="0" y="28561"/>
                  </a:lnTo>
                  <a:close/>
                </a:path>
              </a:pathLst>
            </a:custGeom>
            <a:solidFill>
              <a:srgbClr val="FACAAC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5" name="Freeform: Shape 54">
              <a:extLst>
                <a:ext uri="{FF2B5EF4-FFF2-40B4-BE49-F238E27FC236}">
                  <a16:creationId xmlns:a16="http://schemas.microsoft.com/office/drawing/2014/main" id="{73E69182-5FB5-9BB0-4E01-9494007F89D8}"/>
                </a:ext>
              </a:extLst>
            </p:cNvPr>
            <p:cNvSpPr/>
            <p:nvPr/>
          </p:nvSpPr>
          <p:spPr>
            <a:xfrm flipH="1">
              <a:off x="947247" y="5029104"/>
              <a:ext cx="306976" cy="222719"/>
            </a:xfrm>
            <a:custGeom>
              <a:avLst/>
              <a:gdLst>
                <a:gd name="connsiteX0" fmla="*/ 176579 w 245073"/>
                <a:gd name="connsiteY0" fmla="*/ 177808 h 177807"/>
                <a:gd name="connsiteX1" fmla="*/ 140339 w 245073"/>
                <a:gd name="connsiteY1" fmla="*/ 170814 h 177807"/>
                <a:gd name="connsiteX2" fmla="*/ 0 w 245073"/>
                <a:gd name="connsiteY2" fmla="*/ 1526 h 177807"/>
                <a:gd name="connsiteX3" fmla="*/ 2755 w 245073"/>
                <a:gd name="connsiteY3" fmla="*/ 0 h 177807"/>
                <a:gd name="connsiteX4" fmla="*/ 141483 w 245073"/>
                <a:gd name="connsiteY4" fmla="*/ 167890 h 177807"/>
                <a:gd name="connsiteX5" fmla="*/ 243378 w 245073"/>
                <a:gd name="connsiteY5" fmla="*/ 152588 h 177807"/>
                <a:gd name="connsiteX6" fmla="*/ 245074 w 245073"/>
                <a:gd name="connsiteY6" fmla="*/ 155259 h 177807"/>
                <a:gd name="connsiteX7" fmla="*/ 176579 w 245073"/>
                <a:gd name="connsiteY7" fmla="*/ 177808 h 177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45073" h="177807">
                  <a:moveTo>
                    <a:pt x="176579" y="177808"/>
                  </a:moveTo>
                  <a:cubicBezTo>
                    <a:pt x="164244" y="177808"/>
                    <a:pt x="152164" y="175477"/>
                    <a:pt x="140339" y="170814"/>
                  </a:cubicBezTo>
                  <a:cubicBezTo>
                    <a:pt x="100496" y="155089"/>
                    <a:pt x="53279" y="98123"/>
                    <a:pt x="0" y="1526"/>
                  </a:cubicBezTo>
                  <a:lnTo>
                    <a:pt x="2755" y="0"/>
                  </a:lnTo>
                  <a:cubicBezTo>
                    <a:pt x="55695" y="95961"/>
                    <a:pt x="102361" y="152419"/>
                    <a:pt x="141483" y="167890"/>
                  </a:cubicBezTo>
                  <a:cubicBezTo>
                    <a:pt x="173569" y="180563"/>
                    <a:pt x="207859" y="175434"/>
                    <a:pt x="243378" y="152588"/>
                  </a:cubicBezTo>
                  <a:lnTo>
                    <a:pt x="245074" y="155259"/>
                  </a:lnTo>
                  <a:cubicBezTo>
                    <a:pt x="221677" y="170306"/>
                    <a:pt x="198746" y="177808"/>
                    <a:pt x="176579" y="177808"/>
                  </a:cubicBezTo>
                  <a:close/>
                </a:path>
              </a:pathLst>
            </a:custGeom>
            <a:solidFill>
              <a:srgbClr val="F38039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8" name="Freeform: Shape 57">
              <a:extLst>
                <a:ext uri="{FF2B5EF4-FFF2-40B4-BE49-F238E27FC236}">
                  <a16:creationId xmlns:a16="http://schemas.microsoft.com/office/drawing/2014/main" id="{E309C32B-2CD5-A113-EECA-F10B9830DF61}"/>
                </a:ext>
              </a:extLst>
            </p:cNvPr>
            <p:cNvSpPr/>
            <p:nvPr/>
          </p:nvSpPr>
          <p:spPr>
            <a:xfrm rot="21033804" flipH="1">
              <a:off x="972912" y="4687836"/>
              <a:ext cx="148603" cy="192989"/>
            </a:xfrm>
            <a:custGeom>
              <a:avLst/>
              <a:gdLst>
                <a:gd name="connsiteX0" fmla="*/ 115458 w 118637"/>
                <a:gd name="connsiteY0" fmla="*/ 154072 h 154072"/>
                <a:gd name="connsiteX1" fmla="*/ 0 w 118637"/>
                <a:gd name="connsiteY1" fmla="*/ 2458 h 154072"/>
                <a:gd name="connsiteX2" fmla="*/ 3052 w 118637"/>
                <a:gd name="connsiteY2" fmla="*/ 0 h 154072"/>
                <a:gd name="connsiteX3" fmla="*/ 118637 w 118637"/>
                <a:gd name="connsiteY3" fmla="*/ 151783 h 154072"/>
                <a:gd name="connsiteX4" fmla="*/ 115416 w 118637"/>
                <a:gd name="connsiteY4" fmla="*/ 154030 h 1540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8637" h="154072">
                  <a:moveTo>
                    <a:pt x="115458" y="154072"/>
                  </a:moveTo>
                  <a:cubicBezTo>
                    <a:pt x="75235" y="97063"/>
                    <a:pt x="720" y="3433"/>
                    <a:pt x="0" y="2458"/>
                  </a:cubicBezTo>
                  <a:lnTo>
                    <a:pt x="3052" y="0"/>
                  </a:lnTo>
                  <a:cubicBezTo>
                    <a:pt x="3815" y="933"/>
                    <a:pt x="78329" y="94690"/>
                    <a:pt x="118637" y="151783"/>
                  </a:cubicBezTo>
                  <a:lnTo>
                    <a:pt x="115416" y="154030"/>
                  </a:lnTo>
                  <a:close/>
                </a:path>
              </a:pathLst>
            </a:custGeom>
            <a:solidFill>
              <a:srgbClr val="F38039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60" name="Freeform: Shape 59">
              <a:extLst>
                <a:ext uri="{FF2B5EF4-FFF2-40B4-BE49-F238E27FC236}">
                  <a16:creationId xmlns:a16="http://schemas.microsoft.com/office/drawing/2014/main" id="{2BDEA8B0-4183-DA29-4804-E204EF13BEAE}"/>
                </a:ext>
              </a:extLst>
            </p:cNvPr>
            <p:cNvSpPr/>
            <p:nvPr/>
          </p:nvSpPr>
          <p:spPr>
            <a:xfrm flipH="1">
              <a:off x="1080757" y="3375599"/>
              <a:ext cx="572072" cy="655958"/>
            </a:xfrm>
            <a:custGeom>
              <a:avLst/>
              <a:gdLst>
                <a:gd name="connsiteX0" fmla="*/ 418735 w 456712"/>
                <a:gd name="connsiteY0" fmla="*/ 275295 h 523682"/>
                <a:gd name="connsiteX1" fmla="*/ 191548 w 456712"/>
                <a:gd name="connsiteY1" fmla="*/ 517148 h 523682"/>
                <a:gd name="connsiteX2" fmla="*/ 189513 w 456712"/>
                <a:gd name="connsiteY2" fmla="*/ 517741 h 523682"/>
                <a:gd name="connsiteX3" fmla="*/ 74055 w 456712"/>
                <a:gd name="connsiteY3" fmla="*/ 514604 h 523682"/>
                <a:gd name="connsiteX4" fmla="*/ 16749 w 456712"/>
                <a:gd name="connsiteY4" fmla="*/ 302591 h 523682"/>
                <a:gd name="connsiteX5" fmla="*/ 18190 w 456712"/>
                <a:gd name="connsiteY5" fmla="*/ 298649 h 523682"/>
                <a:gd name="connsiteX6" fmla="*/ 25396 w 456712"/>
                <a:gd name="connsiteY6" fmla="*/ 282543 h 523682"/>
                <a:gd name="connsiteX7" fmla="*/ 27091 w 456712"/>
                <a:gd name="connsiteY7" fmla="*/ 279745 h 523682"/>
                <a:gd name="connsiteX8" fmla="*/ 28108 w 456712"/>
                <a:gd name="connsiteY8" fmla="*/ 278050 h 523682"/>
                <a:gd name="connsiteX9" fmla="*/ 28108 w 456712"/>
                <a:gd name="connsiteY9" fmla="*/ 278050 h 523682"/>
                <a:gd name="connsiteX10" fmla="*/ 42732 w 456712"/>
                <a:gd name="connsiteY10" fmla="*/ 225577 h 523682"/>
                <a:gd name="connsiteX11" fmla="*/ 43537 w 456712"/>
                <a:gd name="connsiteY11" fmla="*/ 221423 h 523682"/>
                <a:gd name="connsiteX12" fmla="*/ 64263 w 456712"/>
                <a:gd name="connsiteY12" fmla="*/ 61671 h 523682"/>
                <a:gd name="connsiteX13" fmla="*/ 456712 w 456712"/>
                <a:gd name="connsiteY13" fmla="*/ 0 h 523682"/>
                <a:gd name="connsiteX14" fmla="*/ 390379 w 456712"/>
                <a:gd name="connsiteY14" fmla="*/ 178401 h 523682"/>
                <a:gd name="connsiteX15" fmla="*/ 418777 w 456712"/>
                <a:gd name="connsiteY15" fmla="*/ 275295 h 5236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56712" h="523682">
                  <a:moveTo>
                    <a:pt x="418735" y="275295"/>
                  </a:moveTo>
                  <a:cubicBezTo>
                    <a:pt x="322265" y="435046"/>
                    <a:pt x="256101" y="498413"/>
                    <a:pt x="191548" y="517148"/>
                  </a:cubicBezTo>
                  <a:cubicBezTo>
                    <a:pt x="190869" y="517359"/>
                    <a:pt x="190191" y="517529"/>
                    <a:pt x="189513" y="517741"/>
                  </a:cubicBezTo>
                  <a:cubicBezTo>
                    <a:pt x="152426" y="527998"/>
                    <a:pt x="115762" y="523675"/>
                    <a:pt x="74055" y="514604"/>
                  </a:cubicBezTo>
                  <a:cubicBezTo>
                    <a:pt x="-23475" y="493412"/>
                    <a:pt x="-3638" y="360532"/>
                    <a:pt x="16749" y="302591"/>
                  </a:cubicBezTo>
                  <a:cubicBezTo>
                    <a:pt x="17215" y="301235"/>
                    <a:pt x="17682" y="299921"/>
                    <a:pt x="18190" y="298649"/>
                  </a:cubicBezTo>
                  <a:cubicBezTo>
                    <a:pt x="20733" y="291952"/>
                    <a:pt x="23192" y="286442"/>
                    <a:pt x="25396" y="282543"/>
                  </a:cubicBezTo>
                  <a:cubicBezTo>
                    <a:pt x="25989" y="281483"/>
                    <a:pt x="26540" y="280551"/>
                    <a:pt x="27091" y="279745"/>
                  </a:cubicBezTo>
                  <a:cubicBezTo>
                    <a:pt x="27430" y="279237"/>
                    <a:pt x="27769" y="278686"/>
                    <a:pt x="28108" y="278050"/>
                  </a:cubicBezTo>
                  <a:lnTo>
                    <a:pt x="28108" y="278050"/>
                  </a:lnTo>
                  <a:cubicBezTo>
                    <a:pt x="33280" y="268895"/>
                    <a:pt x="38239" y="249355"/>
                    <a:pt x="42732" y="225577"/>
                  </a:cubicBezTo>
                  <a:cubicBezTo>
                    <a:pt x="42986" y="224220"/>
                    <a:pt x="43240" y="222821"/>
                    <a:pt x="43537" y="221423"/>
                  </a:cubicBezTo>
                  <a:cubicBezTo>
                    <a:pt x="55617" y="155767"/>
                    <a:pt x="64263" y="61671"/>
                    <a:pt x="64263" y="61671"/>
                  </a:cubicBezTo>
                  <a:lnTo>
                    <a:pt x="456712" y="0"/>
                  </a:lnTo>
                  <a:cubicBezTo>
                    <a:pt x="456712" y="0"/>
                    <a:pt x="397796" y="132158"/>
                    <a:pt x="390379" y="178401"/>
                  </a:cubicBezTo>
                  <a:cubicBezTo>
                    <a:pt x="382961" y="224644"/>
                    <a:pt x="384572" y="255501"/>
                    <a:pt x="418777" y="275295"/>
                  </a:cubicBezTo>
                  <a:close/>
                </a:path>
              </a:pathLst>
            </a:custGeom>
            <a:solidFill>
              <a:srgbClr val="F8B992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61" name="Freeform: Shape 60">
              <a:extLst>
                <a:ext uri="{FF2B5EF4-FFF2-40B4-BE49-F238E27FC236}">
                  <a16:creationId xmlns:a16="http://schemas.microsoft.com/office/drawing/2014/main" id="{1DA7B036-A773-6E9B-298A-2727219F210F}"/>
                </a:ext>
              </a:extLst>
            </p:cNvPr>
            <p:cNvSpPr/>
            <p:nvPr/>
          </p:nvSpPr>
          <p:spPr>
            <a:xfrm flipH="1">
              <a:off x="872569" y="2583056"/>
              <a:ext cx="796943" cy="986613"/>
            </a:xfrm>
            <a:custGeom>
              <a:avLst/>
              <a:gdLst>
                <a:gd name="connsiteX0" fmla="*/ 440828 w 636237"/>
                <a:gd name="connsiteY0" fmla="*/ 8383 h 787659"/>
                <a:gd name="connsiteX1" fmla="*/ 2560 w 636237"/>
                <a:gd name="connsiteY1" fmla="*/ 397399 h 787659"/>
                <a:gd name="connsiteX2" fmla="*/ 153411 w 636237"/>
                <a:gd name="connsiteY2" fmla="*/ 781370 h 787659"/>
                <a:gd name="connsiteX3" fmla="*/ 584515 w 636237"/>
                <a:gd name="connsiteY3" fmla="*/ 520402 h 787659"/>
                <a:gd name="connsiteX4" fmla="*/ 440828 w 636237"/>
                <a:gd name="connsiteY4" fmla="*/ 8341 h 7876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6237" h="787659">
                  <a:moveTo>
                    <a:pt x="440828" y="8383"/>
                  </a:moveTo>
                  <a:cubicBezTo>
                    <a:pt x="179181" y="-38962"/>
                    <a:pt x="23075" y="117399"/>
                    <a:pt x="2560" y="397399"/>
                  </a:cubicBezTo>
                  <a:cubicBezTo>
                    <a:pt x="-12995" y="609496"/>
                    <a:pt x="42954" y="750598"/>
                    <a:pt x="153411" y="781370"/>
                  </a:cubicBezTo>
                  <a:cubicBezTo>
                    <a:pt x="283916" y="817695"/>
                    <a:pt x="525048" y="692191"/>
                    <a:pt x="584515" y="520402"/>
                  </a:cubicBezTo>
                  <a:cubicBezTo>
                    <a:pt x="643982" y="348613"/>
                    <a:pt x="705399" y="56236"/>
                    <a:pt x="440828" y="8341"/>
                  </a:cubicBezTo>
                  <a:close/>
                </a:path>
              </a:pathLst>
            </a:custGeom>
            <a:solidFill>
              <a:srgbClr val="FACAAC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62" name="Freeform: Shape 61">
              <a:extLst>
                <a:ext uri="{FF2B5EF4-FFF2-40B4-BE49-F238E27FC236}">
                  <a16:creationId xmlns:a16="http://schemas.microsoft.com/office/drawing/2014/main" id="{0F5229D3-1F63-2560-D876-5841E1A40366}"/>
                </a:ext>
              </a:extLst>
            </p:cNvPr>
            <p:cNvSpPr/>
            <p:nvPr/>
          </p:nvSpPr>
          <p:spPr>
            <a:xfrm flipH="1">
              <a:off x="935020" y="3234110"/>
              <a:ext cx="653771" cy="337982"/>
            </a:xfrm>
            <a:custGeom>
              <a:avLst/>
              <a:gdLst>
                <a:gd name="connsiteX0" fmla="*/ 138643 w 521936"/>
                <a:gd name="connsiteY0" fmla="*/ 269827 h 269827"/>
                <a:gd name="connsiteX1" fmla="*/ 88459 w 521936"/>
                <a:gd name="connsiteY1" fmla="*/ 263512 h 269827"/>
                <a:gd name="connsiteX2" fmla="*/ 0 w 521936"/>
                <a:gd name="connsiteY2" fmla="*/ 207817 h 269827"/>
                <a:gd name="connsiteX3" fmla="*/ 2882 w 521936"/>
                <a:gd name="connsiteY3" fmla="*/ 205189 h 269827"/>
                <a:gd name="connsiteX4" fmla="*/ 89518 w 521936"/>
                <a:gd name="connsiteY4" fmla="*/ 259739 h 269827"/>
                <a:gd name="connsiteX5" fmla="*/ 518249 w 521936"/>
                <a:gd name="connsiteY5" fmla="*/ 0 h 269827"/>
                <a:gd name="connsiteX6" fmla="*/ 521937 w 521936"/>
                <a:gd name="connsiteY6" fmla="*/ 1272 h 269827"/>
                <a:gd name="connsiteX7" fmla="*/ 138643 w 521936"/>
                <a:gd name="connsiteY7" fmla="*/ 269827 h 2698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21936" h="269827">
                  <a:moveTo>
                    <a:pt x="138643" y="269827"/>
                  </a:moveTo>
                  <a:cubicBezTo>
                    <a:pt x="120672" y="269827"/>
                    <a:pt x="103802" y="267793"/>
                    <a:pt x="88459" y="263512"/>
                  </a:cubicBezTo>
                  <a:cubicBezTo>
                    <a:pt x="54974" y="254187"/>
                    <a:pt x="25219" y="235452"/>
                    <a:pt x="0" y="207817"/>
                  </a:cubicBezTo>
                  <a:lnTo>
                    <a:pt x="2882" y="205189"/>
                  </a:lnTo>
                  <a:cubicBezTo>
                    <a:pt x="27593" y="232273"/>
                    <a:pt x="56712" y="250584"/>
                    <a:pt x="89518" y="259739"/>
                  </a:cubicBezTo>
                  <a:cubicBezTo>
                    <a:pt x="218752" y="295725"/>
                    <a:pt x="458867" y="171535"/>
                    <a:pt x="518249" y="0"/>
                  </a:cubicBezTo>
                  <a:lnTo>
                    <a:pt x="521937" y="1272"/>
                  </a:lnTo>
                  <a:cubicBezTo>
                    <a:pt x="468997" y="154199"/>
                    <a:pt x="273642" y="269827"/>
                    <a:pt x="138643" y="269827"/>
                  </a:cubicBezTo>
                  <a:close/>
                </a:path>
              </a:pathLst>
            </a:custGeom>
            <a:solidFill>
              <a:srgbClr val="F38039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63" name="Freeform: Shape 62">
              <a:extLst>
                <a:ext uri="{FF2B5EF4-FFF2-40B4-BE49-F238E27FC236}">
                  <a16:creationId xmlns:a16="http://schemas.microsoft.com/office/drawing/2014/main" id="{2D8C7B42-B0F7-8A98-2675-7B29E1272DE4}"/>
                </a:ext>
              </a:extLst>
            </p:cNvPr>
            <p:cNvSpPr/>
            <p:nvPr/>
          </p:nvSpPr>
          <p:spPr>
            <a:xfrm flipH="1">
              <a:off x="785107" y="2501568"/>
              <a:ext cx="866067" cy="767634"/>
            </a:xfrm>
            <a:custGeom>
              <a:avLst/>
              <a:gdLst>
                <a:gd name="connsiteX0" fmla="*/ 510959 w 691422"/>
                <a:gd name="connsiteY0" fmla="*/ 26094 h 612838"/>
                <a:gd name="connsiteX1" fmla="*/ 0 w 691422"/>
                <a:gd name="connsiteY1" fmla="*/ 363060 h 612838"/>
                <a:gd name="connsiteX2" fmla="*/ 268852 w 691422"/>
                <a:gd name="connsiteY2" fmla="*/ 96115 h 612838"/>
                <a:gd name="connsiteX3" fmla="*/ 538510 w 691422"/>
                <a:gd name="connsiteY3" fmla="*/ 592027 h 612838"/>
                <a:gd name="connsiteX4" fmla="*/ 538510 w 691422"/>
                <a:gd name="connsiteY4" fmla="*/ 612838 h 612838"/>
                <a:gd name="connsiteX5" fmla="*/ 636463 w 691422"/>
                <a:gd name="connsiteY5" fmla="*/ 589865 h 612838"/>
                <a:gd name="connsiteX6" fmla="*/ 649687 w 691422"/>
                <a:gd name="connsiteY6" fmla="*/ 211065 h 612838"/>
                <a:gd name="connsiteX7" fmla="*/ 661598 w 691422"/>
                <a:gd name="connsiteY7" fmla="*/ 115019 h 612838"/>
                <a:gd name="connsiteX8" fmla="*/ 510959 w 691422"/>
                <a:gd name="connsiteY8" fmla="*/ 26051 h 6128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691422" h="612838">
                  <a:moveTo>
                    <a:pt x="510959" y="26094"/>
                  </a:moveTo>
                  <a:cubicBezTo>
                    <a:pt x="391559" y="-20827"/>
                    <a:pt x="28822" y="-50540"/>
                    <a:pt x="0" y="363060"/>
                  </a:cubicBezTo>
                  <a:cubicBezTo>
                    <a:pt x="66249" y="295243"/>
                    <a:pt x="86551" y="100989"/>
                    <a:pt x="268852" y="96115"/>
                  </a:cubicBezTo>
                  <a:cubicBezTo>
                    <a:pt x="278770" y="250271"/>
                    <a:pt x="621162" y="301261"/>
                    <a:pt x="538510" y="592027"/>
                  </a:cubicBezTo>
                  <a:lnTo>
                    <a:pt x="538510" y="612838"/>
                  </a:lnTo>
                  <a:lnTo>
                    <a:pt x="636463" y="589865"/>
                  </a:lnTo>
                  <a:cubicBezTo>
                    <a:pt x="636463" y="589865"/>
                    <a:pt x="682706" y="292530"/>
                    <a:pt x="649687" y="211065"/>
                  </a:cubicBezTo>
                  <a:cubicBezTo>
                    <a:pt x="616669" y="129600"/>
                    <a:pt x="747683" y="193432"/>
                    <a:pt x="661598" y="115019"/>
                  </a:cubicBezTo>
                  <a:cubicBezTo>
                    <a:pt x="580556" y="41225"/>
                    <a:pt x="572630" y="50296"/>
                    <a:pt x="510959" y="26051"/>
                  </a:cubicBezTo>
                  <a:close/>
                </a:path>
              </a:pathLst>
            </a:custGeom>
            <a:solidFill>
              <a:srgbClr val="4D3221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357" name="Freeform: Shape 1356">
              <a:extLst>
                <a:ext uri="{FF2B5EF4-FFF2-40B4-BE49-F238E27FC236}">
                  <a16:creationId xmlns:a16="http://schemas.microsoft.com/office/drawing/2014/main" id="{71738554-E14F-98D2-5AC2-802DF0520BCA}"/>
                </a:ext>
              </a:extLst>
            </p:cNvPr>
            <p:cNvSpPr/>
            <p:nvPr/>
          </p:nvSpPr>
          <p:spPr>
            <a:xfrm flipH="1">
              <a:off x="658365" y="2381441"/>
              <a:ext cx="379440" cy="336171"/>
            </a:xfrm>
            <a:custGeom>
              <a:avLst/>
              <a:gdLst>
                <a:gd name="connsiteX0" fmla="*/ 0 w 302925"/>
                <a:gd name="connsiteY0" fmla="*/ 138570 h 268381"/>
                <a:gd name="connsiteX1" fmla="*/ 240581 w 302925"/>
                <a:gd name="connsiteY1" fmla="*/ 20653 h 268381"/>
                <a:gd name="connsiteX2" fmla="*/ 195440 w 302925"/>
                <a:gd name="connsiteY2" fmla="*/ 240974 h 268381"/>
                <a:gd name="connsiteX3" fmla="*/ 0 w 302925"/>
                <a:gd name="connsiteY3" fmla="*/ 138570 h 2683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02925" h="268381">
                  <a:moveTo>
                    <a:pt x="0" y="138570"/>
                  </a:moveTo>
                  <a:cubicBezTo>
                    <a:pt x="56712" y="69185"/>
                    <a:pt x="57136" y="-47545"/>
                    <a:pt x="240581" y="20653"/>
                  </a:cubicBezTo>
                  <a:cubicBezTo>
                    <a:pt x="344468" y="59267"/>
                    <a:pt x="311068" y="141876"/>
                    <a:pt x="195440" y="240974"/>
                  </a:cubicBezTo>
                  <a:cubicBezTo>
                    <a:pt x="79812" y="340072"/>
                    <a:pt x="0" y="138570"/>
                    <a:pt x="0" y="138570"/>
                  </a:cubicBezTo>
                  <a:close/>
                </a:path>
              </a:pathLst>
            </a:custGeom>
            <a:solidFill>
              <a:srgbClr val="4D3221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grpSp>
          <p:nvGrpSpPr>
            <p:cNvPr id="1358" name="Group 1357">
              <a:extLst>
                <a:ext uri="{FF2B5EF4-FFF2-40B4-BE49-F238E27FC236}">
                  <a16:creationId xmlns:a16="http://schemas.microsoft.com/office/drawing/2014/main" id="{5D64C0F0-6D89-102B-D595-D08DDA05FD4C}"/>
                </a:ext>
              </a:extLst>
            </p:cNvPr>
            <p:cNvGrpSpPr/>
            <p:nvPr/>
          </p:nvGrpSpPr>
          <p:grpSpPr>
            <a:xfrm>
              <a:off x="1308502" y="3530048"/>
              <a:ext cx="410852" cy="667867"/>
              <a:chOff x="1354222" y="3482423"/>
              <a:chExt cx="410852" cy="667867"/>
            </a:xfrm>
          </p:grpSpPr>
          <p:sp>
            <p:nvSpPr>
              <p:cNvPr id="1367" name="Freeform: Shape 1366">
                <a:extLst>
                  <a:ext uri="{FF2B5EF4-FFF2-40B4-BE49-F238E27FC236}">
                    <a16:creationId xmlns:a16="http://schemas.microsoft.com/office/drawing/2014/main" id="{E89EF03F-25B5-904F-6275-3928E6F02BFC}"/>
                  </a:ext>
                </a:extLst>
              </p:cNvPr>
              <p:cNvSpPr/>
              <p:nvPr/>
            </p:nvSpPr>
            <p:spPr>
              <a:xfrm flipH="1">
                <a:off x="1501871" y="3672809"/>
                <a:ext cx="171612" cy="307273"/>
              </a:xfrm>
              <a:custGeom>
                <a:avLst/>
                <a:gdLst>
                  <a:gd name="connsiteX0" fmla="*/ 137007 w 137006"/>
                  <a:gd name="connsiteY0" fmla="*/ 84965 h 245310"/>
                  <a:gd name="connsiteX1" fmla="*/ 128191 w 137006"/>
                  <a:gd name="connsiteY1" fmla="*/ 242428 h 245310"/>
                  <a:gd name="connsiteX2" fmla="*/ 50540 w 137006"/>
                  <a:gd name="connsiteY2" fmla="*/ 245310 h 245310"/>
                  <a:gd name="connsiteX3" fmla="*/ 48251 w 137006"/>
                  <a:gd name="connsiteY3" fmla="*/ 241623 h 245310"/>
                  <a:gd name="connsiteX4" fmla="*/ 46726 w 137006"/>
                  <a:gd name="connsiteY4" fmla="*/ 239165 h 245310"/>
                  <a:gd name="connsiteX5" fmla="*/ 2221 w 137006"/>
                  <a:gd name="connsiteY5" fmla="*/ 80939 h 245310"/>
                  <a:gd name="connsiteX6" fmla="*/ 6374 w 137006"/>
                  <a:gd name="connsiteY6" fmla="*/ 66231 h 245310"/>
                  <a:gd name="connsiteX7" fmla="*/ 6417 w 137006"/>
                  <a:gd name="connsiteY7" fmla="*/ 66146 h 245310"/>
                  <a:gd name="connsiteX8" fmla="*/ 11503 w 137006"/>
                  <a:gd name="connsiteY8" fmla="*/ 54999 h 245310"/>
                  <a:gd name="connsiteX9" fmla="*/ 11503 w 137006"/>
                  <a:gd name="connsiteY9" fmla="*/ 54956 h 245310"/>
                  <a:gd name="connsiteX10" fmla="*/ 22905 w 137006"/>
                  <a:gd name="connsiteY10" fmla="*/ 35883 h 245310"/>
                  <a:gd name="connsiteX11" fmla="*/ 77540 w 137006"/>
                  <a:gd name="connsiteY11" fmla="*/ 2441 h 245310"/>
                  <a:gd name="connsiteX12" fmla="*/ 137007 w 137006"/>
                  <a:gd name="connsiteY12" fmla="*/ 85008 h 2453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37006" h="245310">
                    <a:moveTo>
                      <a:pt x="137007" y="84965"/>
                    </a:moveTo>
                    <a:lnTo>
                      <a:pt x="128191" y="242428"/>
                    </a:lnTo>
                    <a:lnTo>
                      <a:pt x="50540" y="245310"/>
                    </a:lnTo>
                    <a:cubicBezTo>
                      <a:pt x="49777" y="244081"/>
                      <a:pt x="49014" y="242852"/>
                      <a:pt x="48251" y="241623"/>
                    </a:cubicBezTo>
                    <a:cubicBezTo>
                      <a:pt x="47743" y="240818"/>
                      <a:pt x="47234" y="239970"/>
                      <a:pt x="46726" y="239165"/>
                    </a:cubicBezTo>
                    <a:cubicBezTo>
                      <a:pt x="15954" y="188641"/>
                      <a:pt x="-7486" y="128919"/>
                      <a:pt x="2221" y="80939"/>
                    </a:cubicBezTo>
                    <a:cubicBezTo>
                      <a:pt x="3196" y="75895"/>
                      <a:pt x="4594" y="70978"/>
                      <a:pt x="6374" y="66231"/>
                    </a:cubicBezTo>
                    <a:cubicBezTo>
                      <a:pt x="6374" y="66231"/>
                      <a:pt x="6374" y="66189"/>
                      <a:pt x="6417" y="66146"/>
                    </a:cubicBezTo>
                    <a:cubicBezTo>
                      <a:pt x="7858" y="62332"/>
                      <a:pt x="9511" y="58602"/>
                      <a:pt x="11503" y="54999"/>
                    </a:cubicBezTo>
                    <a:cubicBezTo>
                      <a:pt x="11503" y="54999"/>
                      <a:pt x="11503" y="54956"/>
                      <a:pt x="11503" y="54956"/>
                    </a:cubicBezTo>
                    <a:cubicBezTo>
                      <a:pt x="15445" y="47709"/>
                      <a:pt x="19260" y="41393"/>
                      <a:pt x="22905" y="35883"/>
                    </a:cubicBezTo>
                    <a:cubicBezTo>
                      <a:pt x="55754" y="-13454"/>
                      <a:pt x="77540" y="2441"/>
                      <a:pt x="77540" y="2441"/>
                    </a:cubicBezTo>
                    <a:lnTo>
                      <a:pt x="137007" y="85008"/>
                    </a:lnTo>
                    <a:close/>
                  </a:path>
                </a:pathLst>
              </a:custGeom>
              <a:solidFill>
                <a:srgbClr val="F7A775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1368" name="Freeform: Shape 1367">
                <a:extLst>
                  <a:ext uri="{FF2B5EF4-FFF2-40B4-BE49-F238E27FC236}">
                    <a16:creationId xmlns:a16="http://schemas.microsoft.com/office/drawing/2014/main" id="{F773E3E1-5069-A4B4-5BE5-DFEB88D81CF9}"/>
                  </a:ext>
                </a:extLst>
              </p:cNvPr>
              <p:cNvSpPr/>
              <p:nvPr/>
            </p:nvSpPr>
            <p:spPr>
              <a:xfrm flipH="1">
                <a:off x="1354222" y="3483085"/>
                <a:ext cx="410852" cy="667205"/>
              </a:xfrm>
              <a:custGeom>
                <a:avLst/>
                <a:gdLst>
                  <a:gd name="connsiteX0" fmla="*/ 327961 w 328002"/>
                  <a:gd name="connsiteY0" fmla="*/ 527109 h 532661"/>
                  <a:gd name="connsiteX1" fmla="*/ 292653 w 328002"/>
                  <a:gd name="connsiteY1" fmla="*/ 252069 h 532661"/>
                  <a:gd name="connsiteX2" fmla="*/ 253065 w 328002"/>
                  <a:gd name="connsiteY2" fmla="*/ 77101 h 532661"/>
                  <a:gd name="connsiteX3" fmla="*/ 131206 w 328002"/>
                  <a:gd name="connsiteY3" fmla="*/ 2968 h 532661"/>
                  <a:gd name="connsiteX4" fmla="*/ 7864 w 328002"/>
                  <a:gd name="connsiteY4" fmla="*/ 69768 h 532661"/>
                  <a:gd name="connsiteX5" fmla="*/ 25497 w 328002"/>
                  <a:gd name="connsiteY5" fmla="*/ 98378 h 532661"/>
                  <a:gd name="connsiteX6" fmla="*/ 126798 w 328002"/>
                  <a:gd name="connsiteY6" fmla="*/ 57985 h 532661"/>
                  <a:gd name="connsiteX7" fmla="*/ 152484 w 328002"/>
                  <a:gd name="connsiteY7" fmla="*/ 80025 h 532661"/>
                  <a:gd name="connsiteX8" fmla="*/ 111370 w 328002"/>
                  <a:gd name="connsiteY8" fmla="*/ 79305 h 532661"/>
                  <a:gd name="connsiteX9" fmla="*/ 32829 w 328002"/>
                  <a:gd name="connsiteY9" fmla="*/ 130676 h 532661"/>
                  <a:gd name="connsiteX10" fmla="*/ 14943 w 328002"/>
                  <a:gd name="connsiteY10" fmla="*/ 194467 h 532661"/>
                  <a:gd name="connsiteX11" fmla="*/ 45291 w 328002"/>
                  <a:gd name="connsiteY11" fmla="*/ 189423 h 532661"/>
                  <a:gd name="connsiteX12" fmla="*/ 59575 w 328002"/>
                  <a:gd name="connsiteY12" fmla="*/ 241600 h 532661"/>
                  <a:gd name="connsiteX13" fmla="*/ 93186 w 328002"/>
                  <a:gd name="connsiteY13" fmla="*/ 189338 h 532661"/>
                  <a:gd name="connsiteX14" fmla="*/ 123789 w 328002"/>
                  <a:gd name="connsiteY14" fmla="*/ 180267 h 532661"/>
                  <a:gd name="connsiteX15" fmla="*/ 158715 w 328002"/>
                  <a:gd name="connsiteY15" fmla="*/ 210404 h 532661"/>
                  <a:gd name="connsiteX16" fmla="*/ 156935 w 328002"/>
                  <a:gd name="connsiteY16" fmla="*/ 268684 h 532661"/>
                  <a:gd name="connsiteX17" fmla="*/ 122433 w 328002"/>
                  <a:gd name="connsiteY17" fmla="*/ 392747 h 532661"/>
                  <a:gd name="connsiteX18" fmla="*/ 193471 w 328002"/>
                  <a:gd name="connsiteY18" fmla="*/ 532662 h 532661"/>
                  <a:gd name="connsiteX19" fmla="*/ 328003 w 328002"/>
                  <a:gd name="connsiteY19" fmla="*/ 527109 h 5326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328002" h="532661">
                    <a:moveTo>
                      <a:pt x="327961" y="527109"/>
                    </a:moveTo>
                    <a:cubicBezTo>
                      <a:pt x="288330" y="461030"/>
                      <a:pt x="283752" y="320606"/>
                      <a:pt x="292653" y="252069"/>
                    </a:cubicBezTo>
                    <a:cubicBezTo>
                      <a:pt x="301554" y="183531"/>
                      <a:pt x="312532" y="140255"/>
                      <a:pt x="253065" y="77101"/>
                    </a:cubicBezTo>
                    <a:cubicBezTo>
                      <a:pt x="193598" y="13989"/>
                      <a:pt x="171600" y="-8772"/>
                      <a:pt x="131206" y="2968"/>
                    </a:cubicBezTo>
                    <a:cubicBezTo>
                      <a:pt x="90813" y="14709"/>
                      <a:pt x="25497" y="57307"/>
                      <a:pt x="7864" y="69768"/>
                    </a:cubicBezTo>
                    <a:cubicBezTo>
                      <a:pt x="-9768" y="82230"/>
                      <a:pt x="4940" y="106474"/>
                      <a:pt x="25497" y="98378"/>
                    </a:cubicBezTo>
                    <a:cubicBezTo>
                      <a:pt x="46054" y="90283"/>
                      <a:pt x="126798" y="57985"/>
                      <a:pt x="126798" y="57985"/>
                    </a:cubicBezTo>
                    <a:lnTo>
                      <a:pt x="152484" y="80025"/>
                    </a:lnTo>
                    <a:cubicBezTo>
                      <a:pt x="152484" y="80025"/>
                      <a:pt x="123111" y="77906"/>
                      <a:pt x="111370" y="79305"/>
                    </a:cubicBezTo>
                    <a:cubicBezTo>
                      <a:pt x="86786" y="82230"/>
                      <a:pt x="45291" y="111984"/>
                      <a:pt x="32829" y="130676"/>
                    </a:cubicBezTo>
                    <a:cubicBezTo>
                      <a:pt x="22445" y="146232"/>
                      <a:pt x="7822" y="173910"/>
                      <a:pt x="14943" y="194467"/>
                    </a:cubicBezTo>
                    <a:cubicBezTo>
                      <a:pt x="22699" y="216889"/>
                      <a:pt x="40120" y="203410"/>
                      <a:pt x="45291" y="189423"/>
                    </a:cubicBezTo>
                    <a:cubicBezTo>
                      <a:pt x="39399" y="218796"/>
                      <a:pt x="51394" y="240243"/>
                      <a:pt x="59575" y="241600"/>
                    </a:cubicBezTo>
                    <a:cubicBezTo>
                      <a:pt x="73520" y="243931"/>
                      <a:pt x="81997" y="220958"/>
                      <a:pt x="93186" y="189338"/>
                    </a:cubicBezTo>
                    <a:cubicBezTo>
                      <a:pt x="105690" y="189338"/>
                      <a:pt x="123789" y="180267"/>
                      <a:pt x="123789" y="180267"/>
                    </a:cubicBezTo>
                    <a:lnTo>
                      <a:pt x="158715" y="210404"/>
                    </a:lnTo>
                    <a:cubicBezTo>
                      <a:pt x="158715" y="210404"/>
                      <a:pt x="187749" y="223162"/>
                      <a:pt x="156935" y="268684"/>
                    </a:cubicBezTo>
                    <a:cubicBezTo>
                      <a:pt x="126120" y="314206"/>
                      <a:pt x="113616" y="360449"/>
                      <a:pt x="122433" y="392747"/>
                    </a:cubicBezTo>
                    <a:cubicBezTo>
                      <a:pt x="131249" y="425045"/>
                      <a:pt x="185121" y="498160"/>
                      <a:pt x="193471" y="532662"/>
                    </a:cubicBezTo>
                    <a:lnTo>
                      <a:pt x="328003" y="527109"/>
                    </a:lnTo>
                    <a:close/>
                  </a:path>
                </a:pathLst>
              </a:custGeom>
              <a:solidFill>
                <a:srgbClr val="FACAAC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1369" name="Freeform: Shape 1368">
                <a:extLst>
                  <a:ext uri="{FF2B5EF4-FFF2-40B4-BE49-F238E27FC236}">
                    <a16:creationId xmlns:a16="http://schemas.microsoft.com/office/drawing/2014/main" id="{BA2F3ED9-D4D7-1DE4-5D75-F832F52BC538}"/>
                  </a:ext>
                </a:extLst>
              </p:cNvPr>
              <p:cNvSpPr/>
              <p:nvPr/>
            </p:nvSpPr>
            <p:spPr>
              <a:xfrm flipH="1">
                <a:off x="1571208" y="3555187"/>
                <a:ext cx="47994" cy="29146"/>
              </a:xfrm>
              <a:custGeom>
                <a:avLst/>
                <a:gdLst>
                  <a:gd name="connsiteX0" fmla="*/ 38317 w 38316"/>
                  <a:gd name="connsiteY0" fmla="*/ 23227 h 23269"/>
                  <a:gd name="connsiteX1" fmla="*/ 32383 w 38316"/>
                  <a:gd name="connsiteY1" fmla="*/ 22804 h 23269"/>
                  <a:gd name="connsiteX2" fmla="*/ 0 w 38316"/>
                  <a:gd name="connsiteY2" fmla="*/ 22252 h 23269"/>
                  <a:gd name="connsiteX3" fmla="*/ 1441 w 38316"/>
                  <a:gd name="connsiteY3" fmla="*/ 19413 h 23269"/>
                  <a:gd name="connsiteX4" fmla="*/ 30306 w 38316"/>
                  <a:gd name="connsiteY4" fmla="*/ 20175 h 23269"/>
                  <a:gd name="connsiteX5" fmla="*/ 10003 w 38316"/>
                  <a:gd name="connsiteY5" fmla="*/ 2755 h 23269"/>
                  <a:gd name="connsiteX6" fmla="*/ 8647 w 38316"/>
                  <a:gd name="connsiteY6" fmla="*/ 3306 h 23269"/>
                  <a:gd name="connsiteX7" fmla="*/ 10342 w 38316"/>
                  <a:gd name="connsiteY7" fmla="*/ 509 h 23269"/>
                  <a:gd name="connsiteX8" fmla="*/ 10681 w 38316"/>
                  <a:gd name="connsiteY8" fmla="*/ 0 h 23269"/>
                  <a:gd name="connsiteX9" fmla="*/ 38317 w 38316"/>
                  <a:gd name="connsiteY9" fmla="*/ 23270 h 232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38316" h="23269">
                    <a:moveTo>
                      <a:pt x="38317" y="23227"/>
                    </a:moveTo>
                    <a:lnTo>
                      <a:pt x="32383" y="22804"/>
                    </a:lnTo>
                    <a:cubicBezTo>
                      <a:pt x="32128" y="22804"/>
                      <a:pt x="13182" y="21701"/>
                      <a:pt x="0" y="22252"/>
                    </a:cubicBezTo>
                    <a:cubicBezTo>
                      <a:pt x="466" y="20896"/>
                      <a:pt x="932" y="20684"/>
                      <a:pt x="1441" y="19413"/>
                    </a:cubicBezTo>
                    <a:cubicBezTo>
                      <a:pt x="10639" y="19158"/>
                      <a:pt x="23100" y="19752"/>
                      <a:pt x="30306" y="20175"/>
                    </a:cubicBezTo>
                    <a:lnTo>
                      <a:pt x="10003" y="2755"/>
                    </a:lnTo>
                    <a:cubicBezTo>
                      <a:pt x="9622" y="2882"/>
                      <a:pt x="9198" y="3094"/>
                      <a:pt x="8647" y="3306"/>
                    </a:cubicBezTo>
                    <a:cubicBezTo>
                      <a:pt x="9240" y="2246"/>
                      <a:pt x="9791" y="1314"/>
                      <a:pt x="10342" y="509"/>
                    </a:cubicBezTo>
                    <a:cubicBezTo>
                      <a:pt x="10681" y="0"/>
                      <a:pt x="10342" y="593"/>
                      <a:pt x="10681" y="0"/>
                    </a:cubicBezTo>
                    <a:lnTo>
                      <a:pt x="38317" y="23270"/>
                    </a:lnTo>
                    <a:close/>
                  </a:path>
                </a:pathLst>
              </a:custGeom>
              <a:solidFill>
                <a:srgbClr val="F38039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1370" name="Freeform: Shape 1369">
                <a:extLst>
                  <a:ext uri="{FF2B5EF4-FFF2-40B4-BE49-F238E27FC236}">
                    <a16:creationId xmlns:a16="http://schemas.microsoft.com/office/drawing/2014/main" id="{B361E6A7-5C18-5B7D-7BA8-31126F54FFC8}"/>
                  </a:ext>
                </a:extLst>
              </p:cNvPr>
              <p:cNvSpPr/>
              <p:nvPr/>
            </p:nvSpPr>
            <p:spPr>
              <a:xfrm flipH="1">
                <a:off x="1384328" y="3482423"/>
                <a:ext cx="202007" cy="371885"/>
              </a:xfrm>
              <a:custGeom>
                <a:avLst/>
                <a:gdLst>
                  <a:gd name="connsiteX0" fmla="*/ 148604 w 161272"/>
                  <a:gd name="connsiteY0" fmla="*/ 296003 h 296893"/>
                  <a:gd name="connsiteX1" fmla="*/ 148477 w 161272"/>
                  <a:gd name="connsiteY1" fmla="*/ 296893 h 296893"/>
                  <a:gd name="connsiteX2" fmla="*/ 146570 w 161272"/>
                  <a:gd name="connsiteY2" fmla="*/ 296597 h 296893"/>
                  <a:gd name="connsiteX3" fmla="*/ 145595 w 161272"/>
                  <a:gd name="connsiteY3" fmla="*/ 296215 h 296893"/>
                  <a:gd name="connsiteX4" fmla="*/ 109948 w 161272"/>
                  <a:gd name="connsiteY4" fmla="*/ 78523 h 296893"/>
                  <a:gd name="connsiteX5" fmla="*/ 105752 w 161272"/>
                  <a:gd name="connsiteY5" fmla="*/ 74072 h 296893"/>
                  <a:gd name="connsiteX6" fmla="*/ 0 w 161272"/>
                  <a:gd name="connsiteY6" fmla="*/ 3330 h 296893"/>
                  <a:gd name="connsiteX7" fmla="*/ 593 w 161272"/>
                  <a:gd name="connsiteY7" fmla="*/ 236 h 296893"/>
                  <a:gd name="connsiteX8" fmla="*/ 107617 w 161272"/>
                  <a:gd name="connsiteY8" fmla="*/ 71826 h 296893"/>
                  <a:gd name="connsiteX9" fmla="*/ 111813 w 161272"/>
                  <a:gd name="connsiteY9" fmla="*/ 76276 h 296893"/>
                  <a:gd name="connsiteX10" fmla="*/ 148647 w 161272"/>
                  <a:gd name="connsiteY10" fmla="*/ 296003 h 2968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161272" h="296893">
                    <a:moveTo>
                      <a:pt x="148604" y="296003"/>
                    </a:moveTo>
                    <a:cubicBezTo>
                      <a:pt x="148562" y="296300"/>
                      <a:pt x="148519" y="296597"/>
                      <a:pt x="148477" y="296893"/>
                    </a:cubicBezTo>
                    <a:lnTo>
                      <a:pt x="146570" y="296597"/>
                    </a:lnTo>
                    <a:lnTo>
                      <a:pt x="145595" y="296215"/>
                    </a:lnTo>
                    <a:cubicBezTo>
                      <a:pt x="165135" y="177705"/>
                      <a:pt x="168186" y="140363"/>
                      <a:pt x="109948" y="78523"/>
                    </a:cubicBezTo>
                    <a:lnTo>
                      <a:pt x="105752" y="74072"/>
                    </a:lnTo>
                    <a:cubicBezTo>
                      <a:pt x="60527" y="26007"/>
                      <a:pt x="35901" y="67"/>
                      <a:pt x="0" y="3330"/>
                    </a:cubicBezTo>
                    <a:cubicBezTo>
                      <a:pt x="254" y="1974"/>
                      <a:pt x="297" y="1635"/>
                      <a:pt x="593" y="236"/>
                    </a:cubicBezTo>
                    <a:cubicBezTo>
                      <a:pt x="37427" y="-2773"/>
                      <a:pt x="61756" y="23082"/>
                      <a:pt x="107617" y="71826"/>
                    </a:cubicBezTo>
                    <a:lnTo>
                      <a:pt x="111813" y="76276"/>
                    </a:lnTo>
                    <a:cubicBezTo>
                      <a:pt x="171153" y="139304"/>
                      <a:pt x="168271" y="176688"/>
                      <a:pt x="148647" y="296003"/>
                    </a:cubicBezTo>
                    <a:close/>
                  </a:path>
                </a:pathLst>
              </a:custGeom>
              <a:solidFill>
                <a:srgbClr val="F38039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1371" name="Freeform: Shape 1370">
                <a:extLst>
                  <a:ext uri="{FF2B5EF4-FFF2-40B4-BE49-F238E27FC236}">
                    <a16:creationId xmlns:a16="http://schemas.microsoft.com/office/drawing/2014/main" id="{27064060-115E-7641-9BA3-8741B3FBACE5}"/>
                  </a:ext>
                </a:extLst>
              </p:cNvPr>
              <p:cNvSpPr/>
              <p:nvPr/>
            </p:nvSpPr>
            <p:spPr>
              <a:xfrm flipH="1">
                <a:off x="1533299" y="3645178"/>
                <a:ext cx="176530" cy="75603"/>
              </a:xfrm>
              <a:custGeom>
                <a:avLst/>
                <a:gdLst>
                  <a:gd name="connsiteX0" fmla="*/ 2501 w 140932"/>
                  <a:gd name="connsiteY0" fmla="*/ 60357 h 60357"/>
                  <a:gd name="connsiteX1" fmla="*/ 0 w 140932"/>
                  <a:gd name="connsiteY1" fmla="*/ 59806 h 60357"/>
                  <a:gd name="connsiteX2" fmla="*/ 58831 w 140932"/>
                  <a:gd name="connsiteY2" fmla="*/ 0 h 60357"/>
                  <a:gd name="connsiteX3" fmla="*/ 140932 w 140932"/>
                  <a:gd name="connsiteY3" fmla="*/ 10808 h 60357"/>
                  <a:gd name="connsiteX4" fmla="*/ 140212 w 140932"/>
                  <a:gd name="connsiteY4" fmla="*/ 13648 h 60357"/>
                  <a:gd name="connsiteX5" fmla="*/ 58831 w 140932"/>
                  <a:gd name="connsiteY5" fmla="*/ 2458 h 60357"/>
                  <a:gd name="connsiteX6" fmla="*/ 2501 w 140932"/>
                  <a:gd name="connsiteY6" fmla="*/ 60357 h 603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40932" h="60357">
                    <a:moveTo>
                      <a:pt x="2501" y="60357"/>
                    </a:moveTo>
                    <a:lnTo>
                      <a:pt x="0" y="59806"/>
                    </a:lnTo>
                    <a:cubicBezTo>
                      <a:pt x="5341" y="28017"/>
                      <a:pt x="43064" y="0"/>
                      <a:pt x="58831" y="0"/>
                    </a:cubicBezTo>
                    <a:cubicBezTo>
                      <a:pt x="78837" y="0"/>
                      <a:pt x="114145" y="3984"/>
                      <a:pt x="140932" y="10808"/>
                    </a:cubicBezTo>
                    <a:lnTo>
                      <a:pt x="140212" y="13648"/>
                    </a:lnTo>
                    <a:cubicBezTo>
                      <a:pt x="113721" y="6909"/>
                      <a:pt x="78583" y="2458"/>
                      <a:pt x="58831" y="2458"/>
                    </a:cubicBezTo>
                    <a:cubicBezTo>
                      <a:pt x="46243" y="2458"/>
                      <a:pt x="7757" y="29204"/>
                      <a:pt x="2501" y="60357"/>
                    </a:cubicBezTo>
                    <a:close/>
                  </a:path>
                </a:pathLst>
              </a:custGeom>
              <a:solidFill>
                <a:srgbClr val="F38039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</p:grpSp>
        <p:sp>
          <p:nvSpPr>
            <p:cNvPr id="1361" name="Freeform: Shape 1360">
              <a:extLst>
                <a:ext uri="{FF2B5EF4-FFF2-40B4-BE49-F238E27FC236}">
                  <a16:creationId xmlns:a16="http://schemas.microsoft.com/office/drawing/2014/main" id="{5C6538BB-4A9F-CCB5-17E2-510E5B1E5B36}"/>
                </a:ext>
              </a:extLst>
            </p:cNvPr>
            <p:cNvSpPr/>
            <p:nvPr/>
          </p:nvSpPr>
          <p:spPr>
            <a:xfrm flipH="1">
              <a:off x="841207" y="3983819"/>
              <a:ext cx="227445" cy="515150"/>
            </a:xfrm>
            <a:custGeom>
              <a:avLst/>
              <a:gdLst>
                <a:gd name="connsiteX0" fmla="*/ 3772 w 181580"/>
                <a:gd name="connsiteY0" fmla="*/ 411268 h 411268"/>
                <a:gd name="connsiteX1" fmla="*/ 0 w 181580"/>
                <a:gd name="connsiteY1" fmla="*/ 410293 h 411268"/>
                <a:gd name="connsiteX2" fmla="*/ 179037 w 181580"/>
                <a:gd name="connsiteY2" fmla="*/ 0 h 411268"/>
                <a:gd name="connsiteX3" fmla="*/ 181580 w 181580"/>
                <a:gd name="connsiteY3" fmla="*/ 3009 h 411268"/>
                <a:gd name="connsiteX4" fmla="*/ 3815 w 181580"/>
                <a:gd name="connsiteY4" fmla="*/ 411268 h 4112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1580" h="411268">
                  <a:moveTo>
                    <a:pt x="3772" y="411268"/>
                  </a:moveTo>
                  <a:lnTo>
                    <a:pt x="0" y="410293"/>
                  </a:lnTo>
                  <a:cubicBezTo>
                    <a:pt x="82059" y="94520"/>
                    <a:pt x="163524" y="13140"/>
                    <a:pt x="179037" y="0"/>
                  </a:cubicBezTo>
                  <a:lnTo>
                    <a:pt x="181580" y="3009"/>
                  </a:lnTo>
                  <a:cubicBezTo>
                    <a:pt x="166237" y="15979"/>
                    <a:pt x="85577" y="96639"/>
                    <a:pt x="3815" y="411268"/>
                  </a:cubicBezTo>
                  <a:close/>
                </a:path>
              </a:pathLst>
            </a:custGeom>
            <a:solidFill>
              <a:schemeClr val="accent5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364" name="Freeform: Shape 1363">
              <a:extLst>
                <a:ext uri="{FF2B5EF4-FFF2-40B4-BE49-F238E27FC236}">
                  <a16:creationId xmlns:a16="http://schemas.microsoft.com/office/drawing/2014/main" id="{299015C6-5330-920C-BC36-5FCDF77DAAEF}"/>
                </a:ext>
              </a:extLst>
            </p:cNvPr>
            <p:cNvSpPr/>
            <p:nvPr/>
          </p:nvSpPr>
          <p:spPr>
            <a:xfrm flipH="1">
              <a:off x="962416" y="2557083"/>
              <a:ext cx="389648" cy="660568"/>
            </a:xfrm>
            <a:custGeom>
              <a:avLst/>
              <a:gdLst>
                <a:gd name="connsiteX0" fmla="*/ 305226 w 311074"/>
                <a:gd name="connsiteY0" fmla="*/ 527320 h 527362"/>
                <a:gd name="connsiteX1" fmla="*/ 133564 w 311074"/>
                <a:gd name="connsiteY1" fmla="*/ 258298 h 527362"/>
                <a:gd name="connsiteX2" fmla="*/ 49471 w 311074"/>
                <a:gd name="connsiteY2" fmla="*/ 188701 h 527362"/>
                <a:gd name="connsiteX3" fmla="*/ 8145 w 311074"/>
                <a:gd name="connsiteY3" fmla="*/ 0 h 527362"/>
                <a:gd name="connsiteX4" fmla="*/ 13739 w 311074"/>
                <a:gd name="connsiteY4" fmla="*/ 1738 h 527362"/>
                <a:gd name="connsiteX5" fmla="*/ 53921 w 311074"/>
                <a:gd name="connsiteY5" fmla="*/ 184929 h 527362"/>
                <a:gd name="connsiteX6" fmla="*/ 136912 w 311074"/>
                <a:gd name="connsiteY6" fmla="*/ 253551 h 527362"/>
                <a:gd name="connsiteX7" fmla="*/ 311075 w 311074"/>
                <a:gd name="connsiteY7" fmla="*/ 527193 h 527362"/>
                <a:gd name="connsiteX8" fmla="*/ 305226 w 311074"/>
                <a:gd name="connsiteY8" fmla="*/ 527362 h 5273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11074" h="527362">
                  <a:moveTo>
                    <a:pt x="305226" y="527320"/>
                  </a:moveTo>
                  <a:cubicBezTo>
                    <a:pt x="300775" y="376130"/>
                    <a:pt x="211935" y="313527"/>
                    <a:pt x="133564" y="258298"/>
                  </a:cubicBezTo>
                  <a:cubicBezTo>
                    <a:pt x="101478" y="235664"/>
                    <a:pt x="71130" y="214302"/>
                    <a:pt x="49471" y="188701"/>
                  </a:cubicBezTo>
                  <a:cubicBezTo>
                    <a:pt x="-18177" y="108677"/>
                    <a:pt x="769" y="24033"/>
                    <a:pt x="8145" y="0"/>
                  </a:cubicBezTo>
                  <a:lnTo>
                    <a:pt x="13739" y="1738"/>
                  </a:lnTo>
                  <a:cubicBezTo>
                    <a:pt x="6534" y="25050"/>
                    <a:pt x="-11819" y="107151"/>
                    <a:pt x="53921" y="184929"/>
                  </a:cubicBezTo>
                  <a:cubicBezTo>
                    <a:pt x="75114" y="209979"/>
                    <a:pt x="105123" y="231129"/>
                    <a:pt x="136912" y="253551"/>
                  </a:cubicBezTo>
                  <a:cubicBezTo>
                    <a:pt x="216428" y="309585"/>
                    <a:pt x="306497" y="373079"/>
                    <a:pt x="311075" y="527193"/>
                  </a:cubicBezTo>
                  <a:lnTo>
                    <a:pt x="305226" y="527362"/>
                  </a:lnTo>
                  <a:close/>
                </a:path>
              </a:pathLst>
            </a:custGeom>
            <a:solidFill>
              <a:srgbClr val="4D3221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365" name="Freeform: Shape 1364">
              <a:extLst>
                <a:ext uri="{FF2B5EF4-FFF2-40B4-BE49-F238E27FC236}">
                  <a16:creationId xmlns:a16="http://schemas.microsoft.com/office/drawing/2014/main" id="{6F2101A3-B7B6-85D7-49E1-00253D5D67CF}"/>
                </a:ext>
              </a:extLst>
            </p:cNvPr>
            <p:cNvSpPr/>
            <p:nvPr/>
          </p:nvSpPr>
          <p:spPr>
            <a:xfrm flipH="1">
              <a:off x="2020727" y="3938160"/>
              <a:ext cx="36812" cy="591920"/>
            </a:xfrm>
            <a:custGeom>
              <a:avLst/>
              <a:gdLst>
                <a:gd name="connsiteX0" fmla="*/ 28059 w 29389"/>
                <a:gd name="connsiteY0" fmla="*/ 472558 h 472557"/>
                <a:gd name="connsiteX1" fmla="*/ 24160 w 29389"/>
                <a:gd name="connsiteY1" fmla="*/ 472388 h 472557"/>
                <a:gd name="connsiteX2" fmla="*/ 0 w 29389"/>
                <a:gd name="connsiteY2" fmla="*/ 890 h 472557"/>
                <a:gd name="connsiteX3" fmla="*/ 3815 w 29389"/>
                <a:gd name="connsiteY3" fmla="*/ 0 h 472557"/>
                <a:gd name="connsiteX4" fmla="*/ 28102 w 29389"/>
                <a:gd name="connsiteY4" fmla="*/ 472558 h 4725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9389" h="472557">
                  <a:moveTo>
                    <a:pt x="28059" y="472558"/>
                  </a:moveTo>
                  <a:lnTo>
                    <a:pt x="24160" y="472388"/>
                  </a:lnTo>
                  <a:cubicBezTo>
                    <a:pt x="30602" y="320224"/>
                    <a:pt x="11402" y="49676"/>
                    <a:pt x="0" y="890"/>
                  </a:cubicBezTo>
                  <a:lnTo>
                    <a:pt x="3815" y="0"/>
                  </a:lnTo>
                  <a:cubicBezTo>
                    <a:pt x="15301" y="48956"/>
                    <a:pt x="34544" y="320139"/>
                    <a:pt x="28102" y="472558"/>
                  </a:cubicBezTo>
                  <a:close/>
                </a:path>
              </a:pathLst>
            </a:custGeom>
            <a:solidFill>
              <a:schemeClr val="accent5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366" name="Freeform: Shape 1365">
              <a:extLst>
                <a:ext uri="{FF2B5EF4-FFF2-40B4-BE49-F238E27FC236}">
                  <a16:creationId xmlns:a16="http://schemas.microsoft.com/office/drawing/2014/main" id="{9983591E-3524-0586-68AC-5F429D78D955}"/>
                </a:ext>
              </a:extLst>
            </p:cNvPr>
            <p:cNvSpPr/>
            <p:nvPr/>
          </p:nvSpPr>
          <p:spPr>
            <a:xfrm rot="3599999" flipH="1">
              <a:off x="881562" y="3213762"/>
              <a:ext cx="148338" cy="110855"/>
            </a:xfrm>
            <a:custGeom>
              <a:avLst/>
              <a:gdLst>
                <a:gd name="connsiteX0" fmla="*/ 118425 w 118425"/>
                <a:gd name="connsiteY0" fmla="*/ 44251 h 88501"/>
                <a:gd name="connsiteX1" fmla="*/ 59213 w 118425"/>
                <a:gd name="connsiteY1" fmla="*/ 88501 h 88501"/>
                <a:gd name="connsiteX2" fmla="*/ 0 w 118425"/>
                <a:gd name="connsiteY2" fmla="*/ 44251 h 88501"/>
                <a:gd name="connsiteX3" fmla="*/ 59213 w 118425"/>
                <a:gd name="connsiteY3" fmla="*/ 0 h 88501"/>
                <a:gd name="connsiteX4" fmla="*/ 118425 w 118425"/>
                <a:gd name="connsiteY4" fmla="*/ 44251 h 885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8425" h="88501">
                  <a:moveTo>
                    <a:pt x="118425" y="44251"/>
                  </a:moveTo>
                  <a:cubicBezTo>
                    <a:pt x="118425" y="68689"/>
                    <a:pt x="91915" y="88501"/>
                    <a:pt x="59213" y="88501"/>
                  </a:cubicBezTo>
                  <a:cubicBezTo>
                    <a:pt x="26510" y="88501"/>
                    <a:pt x="0" y="68690"/>
                    <a:pt x="0" y="44251"/>
                  </a:cubicBezTo>
                  <a:cubicBezTo>
                    <a:pt x="0" y="19812"/>
                    <a:pt x="26510" y="0"/>
                    <a:pt x="59213" y="0"/>
                  </a:cubicBezTo>
                  <a:cubicBezTo>
                    <a:pt x="91915" y="0"/>
                    <a:pt x="118425" y="19812"/>
                    <a:pt x="118425" y="44251"/>
                  </a:cubicBezTo>
                  <a:close/>
                </a:path>
              </a:pathLst>
            </a:custGeom>
            <a:solidFill>
              <a:srgbClr val="FACAAC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</p:grpSp>
      <p:sp>
        <p:nvSpPr>
          <p:cNvPr id="39" name="Rectangle 38">
            <a:extLst>
              <a:ext uri="{FF2B5EF4-FFF2-40B4-BE49-F238E27FC236}">
                <a16:creationId xmlns:a16="http://schemas.microsoft.com/office/drawing/2014/main" id="{606CD1FA-5060-0160-D444-F10FB61F6818}"/>
              </a:ext>
            </a:extLst>
          </p:cNvPr>
          <p:cNvSpPr/>
          <p:nvPr/>
        </p:nvSpPr>
        <p:spPr>
          <a:xfrm>
            <a:off x="1422400" y="2583340"/>
            <a:ext cx="5435600" cy="1051607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rmAutofit/>
          </a:bodyPr>
          <a:lstStyle/>
          <a:p>
            <a:pPr algn="ctr"/>
            <a:endParaRPr lang="en-GB" sz="1400" dirty="0" err="1"/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BB6C646C-65D6-CFA1-D106-9A425B178FD1}"/>
              </a:ext>
            </a:extLst>
          </p:cNvPr>
          <p:cNvSpPr/>
          <p:nvPr/>
        </p:nvSpPr>
        <p:spPr>
          <a:xfrm>
            <a:off x="1422400" y="3706071"/>
            <a:ext cx="5435600" cy="1051607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rmAutofit/>
          </a:bodyPr>
          <a:lstStyle/>
          <a:p>
            <a:pPr algn="ctr"/>
            <a:endParaRPr lang="en-GB" sz="1400" dirty="0" err="1"/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BC70948C-0578-659C-B7FA-5A836748C9BD}"/>
              </a:ext>
            </a:extLst>
          </p:cNvPr>
          <p:cNvSpPr/>
          <p:nvPr/>
        </p:nvSpPr>
        <p:spPr>
          <a:xfrm>
            <a:off x="1422400" y="1460608"/>
            <a:ext cx="5435600" cy="1051607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rmAutofit/>
          </a:bodyPr>
          <a:lstStyle/>
          <a:p>
            <a:pPr algn="ctr"/>
            <a:endParaRPr lang="en-GB" sz="1400" dirty="0" err="1"/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FF5D7D33-F127-D5AE-8814-E4BBB8FECF8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F5D7D33-F127-D5AE-8814-E4BBB8FECF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B49934E9-52E3-2A8C-9BFB-4FF3F8DCC235}"/>
              </a:ext>
            </a:extLst>
          </p:cNvPr>
          <p:cNvSpPr/>
          <p:nvPr/>
        </p:nvSpPr>
        <p:spPr>
          <a:xfrm>
            <a:off x="0" y="0"/>
            <a:ext cx="6858000" cy="1059180"/>
          </a:xfrm>
          <a:prstGeom prst="rect">
            <a:avLst/>
          </a:prstGeom>
          <a:gradFill flip="none" rotWithShape="1">
            <a:gsLst>
              <a:gs pos="100000">
                <a:schemeClr val="accent5">
                  <a:lumMod val="75000"/>
                </a:schemeClr>
              </a:gs>
              <a:gs pos="5000">
                <a:schemeClr val="accent1">
                  <a:lumMod val="75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400" dirty="0" err="1"/>
          </a:p>
        </p:txBody>
      </p:sp>
      <p:sp>
        <p:nvSpPr>
          <p:cNvPr id="28" name="Oval 27">
            <a:extLst>
              <a:ext uri="{FF2B5EF4-FFF2-40B4-BE49-F238E27FC236}">
                <a16:creationId xmlns:a16="http://schemas.microsoft.com/office/drawing/2014/main" id="{113CAD8B-73D0-7776-CEE9-6FC85FE9FA62}"/>
              </a:ext>
            </a:extLst>
          </p:cNvPr>
          <p:cNvSpPr/>
          <p:nvPr/>
        </p:nvSpPr>
        <p:spPr>
          <a:xfrm>
            <a:off x="6209665" y="554990"/>
            <a:ext cx="367030" cy="367030"/>
          </a:xfrm>
          <a:prstGeom prst="ellipse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400" dirty="0" err="1"/>
          </a:p>
        </p:txBody>
      </p:sp>
      <p:sp>
        <p:nvSpPr>
          <p:cNvPr id="26" name="Oval 25">
            <a:extLst>
              <a:ext uri="{FF2B5EF4-FFF2-40B4-BE49-F238E27FC236}">
                <a16:creationId xmlns:a16="http://schemas.microsoft.com/office/drawing/2014/main" id="{DBF4F6CE-987F-191C-E0CD-745BA84C7B3B}"/>
              </a:ext>
            </a:extLst>
          </p:cNvPr>
          <p:cNvSpPr/>
          <p:nvPr/>
        </p:nvSpPr>
        <p:spPr>
          <a:xfrm>
            <a:off x="5506720" y="254000"/>
            <a:ext cx="243840" cy="243840"/>
          </a:xfrm>
          <a:prstGeom prst="ellipse">
            <a:avLst/>
          </a:prstGeom>
          <a:solidFill>
            <a:schemeClr val="accent1">
              <a:lumMod val="75000"/>
              <a:alpha val="6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400" dirty="0" err="1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28917BCF-398D-4FCD-DAA5-0BE300D27304}"/>
              </a:ext>
            </a:extLst>
          </p:cNvPr>
          <p:cNvSpPr txBox="1"/>
          <p:nvPr/>
        </p:nvSpPr>
        <p:spPr>
          <a:xfrm>
            <a:off x="336924" y="205833"/>
            <a:ext cx="4341279" cy="707886"/>
          </a:xfrm>
          <a:prstGeom prst="rect">
            <a:avLst/>
          </a:prstGeom>
          <a:noFill/>
        </p:spPr>
        <p:txBody>
          <a:bodyPr wrap="square" lIns="0" rIns="0">
            <a:spAutoFit/>
          </a:bodyPr>
          <a:lstStyle/>
          <a:p>
            <a:r>
              <a:rPr lang="en-US" sz="2000" dirty="0">
                <a:solidFill>
                  <a:schemeClr val="bg1"/>
                </a:solidFill>
                <a:latin typeface="+mj-lt"/>
              </a:rPr>
              <a:t>Talking to small business owners </a:t>
            </a:r>
          </a:p>
          <a:p>
            <a:r>
              <a:rPr lang="en-US" sz="2000" dirty="0">
                <a:solidFill>
                  <a:schemeClr val="bg1"/>
                </a:solidFill>
                <a:latin typeface="+mj-lt"/>
              </a:rPr>
              <a:t>about workplace retirement</a:t>
            </a: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45694065-0AC2-3CB5-44C2-F0B99169D74A}"/>
              </a:ext>
            </a:extLst>
          </p:cNvPr>
          <p:cNvGrpSpPr/>
          <p:nvPr/>
        </p:nvGrpSpPr>
        <p:grpSpPr>
          <a:xfrm>
            <a:off x="5623560" y="138430"/>
            <a:ext cx="782320" cy="782320"/>
            <a:chOff x="5623560" y="187960"/>
            <a:chExt cx="782320" cy="782320"/>
          </a:xfrm>
        </p:grpSpPr>
        <p:sp>
          <p:nvSpPr>
            <p:cNvPr id="24" name="Oval 23">
              <a:extLst>
                <a:ext uri="{FF2B5EF4-FFF2-40B4-BE49-F238E27FC236}">
                  <a16:creationId xmlns:a16="http://schemas.microsoft.com/office/drawing/2014/main" id="{88DF59C9-EE6D-E120-3139-DEAC0D4BA38B}"/>
                </a:ext>
              </a:extLst>
            </p:cNvPr>
            <p:cNvSpPr/>
            <p:nvPr/>
          </p:nvSpPr>
          <p:spPr>
            <a:xfrm>
              <a:off x="5623560" y="187960"/>
              <a:ext cx="782320" cy="78232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63500" sx="102000" sy="102000" algn="ctr" rotWithShape="0">
                <a:prstClr val="black">
                  <a:alpha val="26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400" dirty="0" err="1"/>
            </a:p>
          </p:txBody>
        </p:sp>
        <p:grpSp>
          <p:nvGrpSpPr>
            <p:cNvPr id="11" name="Group 10">
              <a:extLst>
                <a:ext uri="{FF2B5EF4-FFF2-40B4-BE49-F238E27FC236}">
                  <a16:creationId xmlns:a16="http://schemas.microsoft.com/office/drawing/2014/main" id="{0E45B01C-6D70-2DD1-3267-A96D1C1E47C3}"/>
                </a:ext>
              </a:extLst>
            </p:cNvPr>
            <p:cNvGrpSpPr/>
            <p:nvPr/>
          </p:nvGrpSpPr>
          <p:grpSpPr>
            <a:xfrm>
              <a:off x="5857438" y="353141"/>
              <a:ext cx="314564" cy="451958"/>
              <a:chOff x="2511425" y="5770563"/>
              <a:chExt cx="138113" cy="198437"/>
            </a:xfrm>
          </p:grpSpPr>
          <p:sp>
            <p:nvSpPr>
              <p:cNvPr id="12" name="Oval 5">
                <a:extLst>
                  <a:ext uri="{FF2B5EF4-FFF2-40B4-BE49-F238E27FC236}">
                    <a16:creationId xmlns:a16="http://schemas.microsoft.com/office/drawing/2014/main" id="{D8B09822-50C8-C0DD-FAD5-A3E386125A9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511425" y="5770563"/>
                <a:ext cx="138113" cy="138112"/>
              </a:xfrm>
              <a:prstGeom prst="ellipse">
                <a:avLst/>
              </a:prstGeom>
              <a:noFill/>
              <a:ln w="12700" cap="rnd">
                <a:solidFill>
                  <a:schemeClr val="accent1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1" b="0" i="0" u="none" strike="noStrike" kern="0" cap="none" spc="0" normalizeH="0" baseline="0" noProof="0">
                  <a:ln>
                    <a:noFill/>
                  </a:ln>
                  <a:solidFill>
                    <a:srgbClr val="4C4C4C"/>
                  </a:solidFill>
                  <a:effectLst/>
                  <a:uLnTx/>
                  <a:uFillTx/>
                  <a:latin typeface="Fidelity Sans"/>
                </a:endParaRPr>
              </a:p>
            </p:txBody>
          </p:sp>
          <p:sp>
            <p:nvSpPr>
              <p:cNvPr id="14" name="Line 6">
                <a:extLst>
                  <a:ext uri="{FF2B5EF4-FFF2-40B4-BE49-F238E27FC236}">
                    <a16:creationId xmlns:a16="http://schemas.microsoft.com/office/drawing/2014/main" id="{5385476A-E83D-F773-1C2A-A6241DC4DD4B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559050" y="5926138"/>
                <a:ext cx="42863" cy="0"/>
              </a:xfrm>
              <a:prstGeom prst="line">
                <a:avLst/>
              </a:prstGeom>
              <a:noFill/>
              <a:ln w="12700" cap="rnd">
                <a:solidFill>
                  <a:schemeClr val="accent1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1" b="0" i="0" u="none" strike="noStrike" kern="0" cap="none" spc="0" normalizeH="0" baseline="0" noProof="0">
                  <a:ln>
                    <a:noFill/>
                  </a:ln>
                  <a:solidFill>
                    <a:srgbClr val="4C4C4C"/>
                  </a:solidFill>
                  <a:effectLst/>
                  <a:uLnTx/>
                  <a:uFillTx/>
                  <a:latin typeface="Fidelity Sans"/>
                </a:endParaRPr>
              </a:p>
            </p:txBody>
          </p:sp>
          <p:sp>
            <p:nvSpPr>
              <p:cNvPr id="15" name="Line 7">
                <a:extLst>
                  <a:ext uri="{FF2B5EF4-FFF2-40B4-BE49-F238E27FC236}">
                    <a16:creationId xmlns:a16="http://schemas.microsoft.com/office/drawing/2014/main" id="{E3CBE99D-5BB1-DFF3-63DB-9C606CB33677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559050" y="5943600"/>
                <a:ext cx="42863" cy="0"/>
              </a:xfrm>
              <a:prstGeom prst="line">
                <a:avLst/>
              </a:prstGeom>
              <a:noFill/>
              <a:ln w="12700" cap="rnd">
                <a:solidFill>
                  <a:schemeClr val="accent1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1" b="0" i="0" u="none" strike="noStrike" kern="0" cap="none" spc="0" normalizeH="0" baseline="0" noProof="0">
                  <a:ln>
                    <a:noFill/>
                  </a:ln>
                  <a:solidFill>
                    <a:srgbClr val="4C4C4C"/>
                  </a:solidFill>
                  <a:effectLst/>
                  <a:uLnTx/>
                  <a:uFillTx/>
                  <a:latin typeface="Fidelity Sans"/>
                </a:endParaRPr>
              </a:p>
            </p:txBody>
          </p:sp>
          <p:sp>
            <p:nvSpPr>
              <p:cNvPr id="17" name="Line 8">
                <a:extLst>
                  <a:ext uri="{FF2B5EF4-FFF2-40B4-BE49-F238E27FC236}">
                    <a16:creationId xmlns:a16="http://schemas.microsoft.com/office/drawing/2014/main" id="{B38F7A79-1663-74B3-5A8E-1D61790429E1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559050" y="5959475"/>
                <a:ext cx="42863" cy="0"/>
              </a:xfrm>
              <a:prstGeom prst="line">
                <a:avLst/>
              </a:prstGeom>
              <a:noFill/>
              <a:ln w="12700" cap="rnd">
                <a:solidFill>
                  <a:schemeClr val="accent1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1" b="0" i="0" u="none" strike="noStrike" kern="0" cap="none" spc="0" normalizeH="0" baseline="0" noProof="0">
                  <a:ln>
                    <a:noFill/>
                  </a:ln>
                  <a:solidFill>
                    <a:srgbClr val="4C4C4C"/>
                  </a:solidFill>
                  <a:effectLst/>
                  <a:uLnTx/>
                  <a:uFillTx/>
                  <a:latin typeface="Fidelity Sans"/>
                </a:endParaRPr>
              </a:p>
            </p:txBody>
          </p:sp>
          <p:sp>
            <p:nvSpPr>
              <p:cNvPr id="18" name="Line 9">
                <a:extLst>
                  <a:ext uri="{FF2B5EF4-FFF2-40B4-BE49-F238E27FC236}">
                    <a16:creationId xmlns:a16="http://schemas.microsoft.com/office/drawing/2014/main" id="{6647CD29-DE94-5D12-76B7-F235BF2A77A2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581275" y="5959475"/>
                <a:ext cx="0" cy="9525"/>
              </a:xfrm>
              <a:prstGeom prst="line">
                <a:avLst/>
              </a:prstGeom>
              <a:noFill/>
              <a:ln w="12700" cap="rnd">
                <a:solidFill>
                  <a:schemeClr val="accent1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1" b="0" i="0" u="none" strike="noStrike" kern="0" cap="none" spc="0" normalizeH="0" baseline="0" noProof="0">
                  <a:ln>
                    <a:noFill/>
                  </a:ln>
                  <a:solidFill>
                    <a:srgbClr val="4C4C4C"/>
                  </a:solidFill>
                  <a:effectLst/>
                  <a:uLnTx/>
                  <a:uFillTx/>
                  <a:latin typeface="Fidelity Sans"/>
                </a:endParaRPr>
              </a:p>
            </p:txBody>
          </p:sp>
          <p:sp>
            <p:nvSpPr>
              <p:cNvPr id="19" name="Freeform 10">
                <a:extLst>
                  <a:ext uri="{FF2B5EF4-FFF2-40B4-BE49-F238E27FC236}">
                    <a16:creationId xmlns:a16="http://schemas.microsoft.com/office/drawing/2014/main" id="{CD642AEB-5B88-2536-1F50-171D3F5B435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54288" y="5865813"/>
                <a:ext cx="52388" cy="12700"/>
              </a:xfrm>
              <a:custGeom>
                <a:avLst/>
                <a:gdLst>
                  <a:gd name="T0" fmla="*/ 33 w 33"/>
                  <a:gd name="T1" fmla="*/ 0 h 8"/>
                  <a:gd name="T2" fmla="*/ 25 w 33"/>
                  <a:gd name="T3" fmla="*/ 8 h 8"/>
                  <a:gd name="T4" fmla="*/ 17 w 33"/>
                  <a:gd name="T5" fmla="*/ 0 h 8"/>
                  <a:gd name="T6" fmla="*/ 9 w 33"/>
                  <a:gd name="T7" fmla="*/ 8 h 8"/>
                  <a:gd name="T8" fmla="*/ 0 w 33"/>
                  <a:gd name="T9" fmla="*/ 0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3" h="8">
                    <a:moveTo>
                      <a:pt x="33" y="0"/>
                    </a:moveTo>
                    <a:lnTo>
                      <a:pt x="25" y="8"/>
                    </a:lnTo>
                    <a:lnTo>
                      <a:pt x="17" y="0"/>
                    </a:lnTo>
                    <a:lnTo>
                      <a:pt x="9" y="8"/>
                    </a:lnTo>
                    <a:lnTo>
                      <a:pt x="0" y="0"/>
                    </a:lnTo>
                  </a:path>
                </a:pathLst>
              </a:custGeom>
              <a:noFill/>
              <a:ln w="12700" cap="rnd">
                <a:solidFill>
                  <a:schemeClr val="accent1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1" b="0" i="0" u="none" strike="noStrike" kern="0" cap="none" spc="0" normalizeH="0" baseline="0" noProof="0">
                  <a:ln>
                    <a:noFill/>
                  </a:ln>
                  <a:solidFill>
                    <a:srgbClr val="4C4C4C"/>
                  </a:solidFill>
                  <a:effectLst/>
                  <a:uLnTx/>
                  <a:uFillTx/>
                  <a:latin typeface="Fidelity Sans"/>
                </a:endParaRPr>
              </a:p>
            </p:txBody>
          </p:sp>
          <p:sp>
            <p:nvSpPr>
              <p:cNvPr id="20" name="Line 11">
                <a:extLst>
                  <a:ext uri="{FF2B5EF4-FFF2-40B4-BE49-F238E27FC236}">
                    <a16:creationId xmlns:a16="http://schemas.microsoft.com/office/drawing/2014/main" id="{A4583304-896B-35B7-12F0-2C5CAE430579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581275" y="5865813"/>
                <a:ext cx="0" cy="42862"/>
              </a:xfrm>
              <a:prstGeom prst="line">
                <a:avLst/>
              </a:prstGeom>
              <a:noFill/>
              <a:ln w="12700" cap="rnd">
                <a:solidFill>
                  <a:schemeClr val="accent1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1" b="0" i="0" u="none" strike="noStrike" kern="0" cap="none" spc="0" normalizeH="0" baseline="0" noProof="0">
                  <a:ln>
                    <a:noFill/>
                  </a:ln>
                  <a:solidFill>
                    <a:srgbClr val="4C4C4C"/>
                  </a:solidFill>
                  <a:effectLst/>
                  <a:uLnTx/>
                  <a:uFillTx/>
                  <a:latin typeface="Fidelity Sans"/>
                </a:endParaRPr>
              </a:p>
            </p:txBody>
          </p:sp>
        </p:grpSp>
      </p:grpSp>
      <p:sp>
        <p:nvSpPr>
          <p:cNvPr id="27" name="Oval 26">
            <a:extLst>
              <a:ext uri="{FF2B5EF4-FFF2-40B4-BE49-F238E27FC236}">
                <a16:creationId xmlns:a16="http://schemas.microsoft.com/office/drawing/2014/main" id="{BB413DF5-92FA-2EB2-9743-22446B4F616C}"/>
              </a:ext>
            </a:extLst>
          </p:cNvPr>
          <p:cNvSpPr/>
          <p:nvPr/>
        </p:nvSpPr>
        <p:spPr>
          <a:xfrm>
            <a:off x="5369560" y="125730"/>
            <a:ext cx="90170" cy="90170"/>
          </a:xfrm>
          <a:prstGeom prst="ellipse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400" dirty="0" err="1"/>
          </a:p>
        </p:txBody>
      </p:sp>
      <p:sp>
        <p:nvSpPr>
          <p:cNvPr id="32" name="Oval 31">
            <a:extLst>
              <a:ext uri="{FF2B5EF4-FFF2-40B4-BE49-F238E27FC236}">
                <a16:creationId xmlns:a16="http://schemas.microsoft.com/office/drawing/2014/main" id="{A008B199-72F3-27F1-B616-291406069508}"/>
              </a:ext>
            </a:extLst>
          </p:cNvPr>
          <p:cNvSpPr/>
          <p:nvPr/>
        </p:nvSpPr>
        <p:spPr>
          <a:xfrm>
            <a:off x="6584950" y="453390"/>
            <a:ext cx="90170" cy="90170"/>
          </a:xfrm>
          <a:prstGeom prst="ellipse">
            <a:avLst/>
          </a:prstGeom>
          <a:solidFill>
            <a:schemeClr val="accent1">
              <a:lumMod val="75000"/>
              <a:alpha val="73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400" dirty="0" err="1"/>
          </a:p>
        </p:txBody>
      </p:sp>
      <p:sp>
        <p:nvSpPr>
          <p:cNvPr id="33" name="Oval 32">
            <a:extLst>
              <a:ext uri="{FF2B5EF4-FFF2-40B4-BE49-F238E27FC236}">
                <a16:creationId xmlns:a16="http://schemas.microsoft.com/office/drawing/2014/main" id="{FE9FEB6F-014E-2AD8-E6A1-44738DD0D3DE}"/>
              </a:ext>
            </a:extLst>
          </p:cNvPr>
          <p:cNvSpPr/>
          <p:nvPr/>
        </p:nvSpPr>
        <p:spPr>
          <a:xfrm>
            <a:off x="5434330" y="588010"/>
            <a:ext cx="48260" cy="48260"/>
          </a:xfrm>
          <a:prstGeom prst="ellipse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400" dirty="0" err="1"/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3DF66643-3344-452C-3886-F94EB98B3B8A}"/>
              </a:ext>
            </a:extLst>
          </p:cNvPr>
          <p:cNvSpPr txBox="1"/>
          <p:nvPr/>
        </p:nvSpPr>
        <p:spPr>
          <a:xfrm>
            <a:off x="265623" y="1082681"/>
            <a:ext cx="659237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>
                <a:solidFill>
                  <a:schemeClr val="accent1"/>
                </a:solidFill>
              </a:rPr>
              <a:t>3 reasons </a:t>
            </a:r>
            <a:r>
              <a:rPr lang="en-US" sz="1600" dirty="0">
                <a:latin typeface="+mj-lt"/>
              </a:rPr>
              <a:t>to offer a retirement benefit</a:t>
            </a:r>
          </a:p>
        </p:txBody>
      </p:sp>
      <p:sp>
        <p:nvSpPr>
          <p:cNvPr id="35" name="Arrow: Pentagon 34">
            <a:extLst>
              <a:ext uri="{FF2B5EF4-FFF2-40B4-BE49-F238E27FC236}">
                <a16:creationId xmlns:a16="http://schemas.microsoft.com/office/drawing/2014/main" id="{63BF1D4A-D793-1FC5-A3C3-E09539E6143B}"/>
              </a:ext>
            </a:extLst>
          </p:cNvPr>
          <p:cNvSpPr/>
          <p:nvPr/>
        </p:nvSpPr>
        <p:spPr>
          <a:xfrm>
            <a:off x="-9329" y="1460608"/>
            <a:ext cx="3654737" cy="1051607"/>
          </a:xfrm>
          <a:prstGeom prst="homePlate">
            <a:avLst>
              <a:gd name="adj" fmla="val 24242"/>
            </a:avLst>
          </a:prstGeom>
          <a:solidFill>
            <a:srgbClr val="005670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40080" rIns="182880" rtlCol="0" anchor="ctr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rgbClr val="FFFFFF"/>
                </a:solidFill>
                <a:latin typeface="Calibri" panose="020F0502020204030204"/>
              </a:defRPr>
            </a:lvl1pPr>
            <a:lvl2pPr marL="457200" algn="l" defTabSz="914400" rtl="0" eaLnBrk="1" latinLnBrk="0" hangingPunct="1">
              <a:defRPr sz="1800" kern="1200">
                <a:solidFill>
                  <a:srgbClr val="FFFFFF"/>
                </a:solidFill>
                <a:latin typeface="Calibri" panose="020F0502020204030204"/>
              </a:defRPr>
            </a:lvl2pPr>
            <a:lvl3pPr marL="914400" algn="l" defTabSz="914400" rtl="0" eaLnBrk="1" latinLnBrk="0" hangingPunct="1">
              <a:defRPr sz="1800" kern="1200">
                <a:solidFill>
                  <a:srgbClr val="FFFFFF"/>
                </a:solidFill>
                <a:latin typeface="Calibri" panose="020F0502020204030204"/>
              </a:defRPr>
            </a:lvl3pPr>
            <a:lvl4pPr marL="1371600" algn="l" defTabSz="914400" rtl="0" eaLnBrk="1" latinLnBrk="0" hangingPunct="1">
              <a:defRPr sz="1800" kern="1200">
                <a:solidFill>
                  <a:srgbClr val="FFFFFF"/>
                </a:solidFill>
                <a:latin typeface="Calibri" panose="020F0502020204030204"/>
              </a:defRPr>
            </a:lvl4pPr>
            <a:lvl5pPr marL="1828800" algn="l" defTabSz="914400" rtl="0" eaLnBrk="1" latinLnBrk="0" hangingPunct="1">
              <a:defRPr sz="1800" kern="1200">
                <a:solidFill>
                  <a:srgbClr val="FFFFFF"/>
                </a:solidFill>
                <a:latin typeface="Calibri" panose="020F0502020204030204"/>
              </a:defRPr>
            </a:lvl5pPr>
            <a:lvl6pPr marL="2286000" algn="l" defTabSz="914400" rtl="0" eaLnBrk="1" latinLnBrk="0" hangingPunct="1">
              <a:defRPr sz="1800" kern="1200">
                <a:solidFill>
                  <a:srgbClr val="FFFFFF"/>
                </a:solidFill>
                <a:latin typeface="Calibri" panose="020F0502020204030204"/>
              </a:defRPr>
            </a:lvl6pPr>
            <a:lvl7pPr marL="2743200" algn="l" defTabSz="914400" rtl="0" eaLnBrk="1" latinLnBrk="0" hangingPunct="1">
              <a:defRPr sz="1800" kern="1200">
                <a:solidFill>
                  <a:srgbClr val="FFFFFF"/>
                </a:solidFill>
                <a:latin typeface="Calibri" panose="020F0502020204030204"/>
              </a:defRPr>
            </a:lvl7pPr>
            <a:lvl8pPr marL="3200400" algn="l" defTabSz="914400" rtl="0" eaLnBrk="1" latinLnBrk="0" hangingPunct="1">
              <a:defRPr sz="1800" kern="1200">
                <a:solidFill>
                  <a:srgbClr val="FFFFFF"/>
                </a:solidFill>
                <a:latin typeface="Calibri" panose="020F0502020204030204"/>
              </a:defRPr>
            </a:lvl8pPr>
            <a:lvl9pPr marL="3657600" algn="l" defTabSz="914400" rtl="0" eaLnBrk="1" latinLnBrk="0" hangingPunct="1">
              <a:defRPr sz="1800" kern="1200">
                <a:solidFill>
                  <a:srgbClr val="FFFFFF"/>
                </a:solidFill>
                <a:latin typeface="Calibri" panose="020F0502020204030204"/>
              </a:defRPr>
            </a:lvl9pPr>
          </a:lstStyle>
          <a:p>
            <a:r>
              <a:rPr lang="en-US" sz="1600" b="1" dirty="0">
                <a:solidFill>
                  <a:schemeClr val="accent1">
                    <a:lumMod val="20000"/>
                    <a:lumOff val="80000"/>
                  </a:schemeClr>
                </a:solidFill>
                <a:latin typeface="+mn-lt"/>
              </a:rPr>
              <a:t>Attract &amp; retain talent</a:t>
            </a:r>
          </a:p>
          <a:p>
            <a:pPr>
              <a:spcAft>
                <a:spcPts val="600"/>
              </a:spcAft>
            </a:pPr>
            <a:r>
              <a:rPr lang="en-US" sz="1100" dirty="0">
                <a:solidFill>
                  <a:schemeClr val="bg1"/>
                </a:solidFill>
              </a:rPr>
              <a:t>Workplace retirement offsets recruiting costs, turnover, and lower employee productivity </a:t>
            </a:r>
            <a:br>
              <a:rPr lang="en-US" sz="1100" dirty="0">
                <a:solidFill>
                  <a:schemeClr val="bg1"/>
                </a:solidFill>
              </a:rPr>
            </a:br>
            <a:r>
              <a:rPr lang="en-US" sz="1100" dirty="0">
                <a:solidFill>
                  <a:schemeClr val="bg1"/>
                </a:solidFill>
              </a:rPr>
              <a:t>due to financial stress</a:t>
            </a:r>
          </a:p>
        </p:txBody>
      </p:sp>
      <p:sp>
        <p:nvSpPr>
          <p:cNvPr id="36" name="Arrow: Pentagon 35">
            <a:extLst>
              <a:ext uri="{FF2B5EF4-FFF2-40B4-BE49-F238E27FC236}">
                <a16:creationId xmlns:a16="http://schemas.microsoft.com/office/drawing/2014/main" id="{90F8999C-F95A-3DDB-0DD7-B576F5CCFC72}"/>
              </a:ext>
            </a:extLst>
          </p:cNvPr>
          <p:cNvSpPr/>
          <p:nvPr/>
        </p:nvSpPr>
        <p:spPr>
          <a:xfrm>
            <a:off x="-9329" y="2583340"/>
            <a:ext cx="3654737" cy="1051607"/>
          </a:xfrm>
          <a:prstGeom prst="homePlate">
            <a:avLst>
              <a:gd name="adj" fmla="val 24242"/>
            </a:avLst>
          </a:prstGeom>
          <a:solidFill>
            <a:srgbClr val="005670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40080" rIns="91440" rtlCol="0" anchor="ctr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rgbClr val="FFFFFF"/>
                </a:solidFill>
                <a:latin typeface="Calibri" panose="020F0502020204030204"/>
              </a:defRPr>
            </a:lvl1pPr>
            <a:lvl2pPr marL="457200" algn="l" defTabSz="914400" rtl="0" eaLnBrk="1" latinLnBrk="0" hangingPunct="1">
              <a:defRPr sz="1800" kern="1200">
                <a:solidFill>
                  <a:srgbClr val="FFFFFF"/>
                </a:solidFill>
                <a:latin typeface="Calibri" panose="020F0502020204030204"/>
              </a:defRPr>
            </a:lvl2pPr>
            <a:lvl3pPr marL="914400" algn="l" defTabSz="914400" rtl="0" eaLnBrk="1" latinLnBrk="0" hangingPunct="1">
              <a:defRPr sz="1800" kern="1200">
                <a:solidFill>
                  <a:srgbClr val="FFFFFF"/>
                </a:solidFill>
                <a:latin typeface="Calibri" panose="020F0502020204030204"/>
              </a:defRPr>
            </a:lvl3pPr>
            <a:lvl4pPr marL="1371600" algn="l" defTabSz="914400" rtl="0" eaLnBrk="1" latinLnBrk="0" hangingPunct="1">
              <a:defRPr sz="1800" kern="1200">
                <a:solidFill>
                  <a:srgbClr val="FFFFFF"/>
                </a:solidFill>
                <a:latin typeface="Calibri" panose="020F0502020204030204"/>
              </a:defRPr>
            </a:lvl4pPr>
            <a:lvl5pPr marL="1828800" algn="l" defTabSz="914400" rtl="0" eaLnBrk="1" latinLnBrk="0" hangingPunct="1">
              <a:defRPr sz="1800" kern="1200">
                <a:solidFill>
                  <a:srgbClr val="FFFFFF"/>
                </a:solidFill>
                <a:latin typeface="Calibri" panose="020F0502020204030204"/>
              </a:defRPr>
            </a:lvl5pPr>
            <a:lvl6pPr marL="2286000" algn="l" defTabSz="914400" rtl="0" eaLnBrk="1" latinLnBrk="0" hangingPunct="1">
              <a:defRPr sz="1800" kern="1200">
                <a:solidFill>
                  <a:srgbClr val="FFFFFF"/>
                </a:solidFill>
                <a:latin typeface="Calibri" panose="020F0502020204030204"/>
              </a:defRPr>
            </a:lvl6pPr>
            <a:lvl7pPr marL="2743200" algn="l" defTabSz="914400" rtl="0" eaLnBrk="1" latinLnBrk="0" hangingPunct="1">
              <a:defRPr sz="1800" kern="1200">
                <a:solidFill>
                  <a:srgbClr val="FFFFFF"/>
                </a:solidFill>
                <a:latin typeface="Calibri" panose="020F0502020204030204"/>
              </a:defRPr>
            </a:lvl7pPr>
            <a:lvl8pPr marL="3200400" algn="l" defTabSz="914400" rtl="0" eaLnBrk="1" latinLnBrk="0" hangingPunct="1">
              <a:defRPr sz="1800" kern="1200">
                <a:solidFill>
                  <a:srgbClr val="FFFFFF"/>
                </a:solidFill>
                <a:latin typeface="Calibri" panose="020F0502020204030204"/>
              </a:defRPr>
            </a:lvl8pPr>
            <a:lvl9pPr marL="3657600" algn="l" defTabSz="914400" rtl="0" eaLnBrk="1" latinLnBrk="0" hangingPunct="1">
              <a:defRPr sz="1800" kern="1200">
                <a:solidFill>
                  <a:srgbClr val="FFFFFF"/>
                </a:solidFill>
                <a:latin typeface="Calibri" panose="020F0502020204030204"/>
              </a:defRPr>
            </a:lvl9pPr>
          </a:lstStyle>
          <a:p>
            <a:r>
              <a:rPr lang="en-US" sz="1600" b="1" dirty="0">
                <a:solidFill>
                  <a:schemeClr val="accent1">
                    <a:lumMod val="20000"/>
                    <a:lumOff val="80000"/>
                  </a:schemeClr>
                </a:solidFill>
                <a:latin typeface="+mn-lt"/>
              </a:rPr>
              <a:t>Save money on taxes</a:t>
            </a:r>
          </a:p>
          <a:p>
            <a:pPr>
              <a:spcAft>
                <a:spcPts val="600"/>
              </a:spcAft>
            </a:pPr>
            <a:r>
              <a:rPr lang="en-US" sz="1100" dirty="0">
                <a:solidFill>
                  <a:schemeClr val="bg1"/>
                </a:solidFill>
              </a:rPr>
              <a:t>Thanks to SECURE 2.0, employers now have access to tax credits for start-up costs, matching contributions, and auto-enrollment costs. </a:t>
            </a:r>
          </a:p>
        </p:txBody>
      </p:sp>
      <p:sp>
        <p:nvSpPr>
          <p:cNvPr id="37" name="Arrow: Pentagon 36">
            <a:extLst>
              <a:ext uri="{FF2B5EF4-FFF2-40B4-BE49-F238E27FC236}">
                <a16:creationId xmlns:a16="http://schemas.microsoft.com/office/drawing/2014/main" id="{CF2B06D4-4508-C517-5D99-93143A163152}"/>
              </a:ext>
            </a:extLst>
          </p:cNvPr>
          <p:cNvSpPr/>
          <p:nvPr/>
        </p:nvSpPr>
        <p:spPr>
          <a:xfrm>
            <a:off x="-9329" y="3706071"/>
            <a:ext cx="3654737" cy="1051607"/>
          </a:xfrm>
          <a:prstGeom prst="homePlate">
            <a:avLst>
              <a:gd name="adj" fmla="val 24242"/>
            </a:avLst>
          </a:prstGeom>
          <a:solidFill>
            <a:srgbClr val="005670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40080" rIns="182880" rtlCol="0" anchor="ctr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rgbClr val="FFFFFF"/>
                </a:solidFill>
                <a:latin typeface="Calibri" panose="020F0502020204030204"/>
              </a:defRPr>
            </a:lvl1pPr>
            <a:lvl2pPr marL="457200" algn="l" defTabSz="914400" rtl="0" eaLnBrk="1" latinLnBrk="0" hangingPunct="1">
              <a:defRPr sz="1800" kern="1200">
                <a:solidFill>
                  <a:srgbClr val="FFFFFF"/>
                </a:solidFill>
                <a:latin typeface="Calibri" panose="020F0502020204030204"/>
              </a:defRPr>
            </a:lvl2pPr>
            <a:lvl3pPr marL="914400" algn="l" defTabSz="914400" rtl="0" eaLnBrk="1" latinLnBrk="0" hangingPunct="1">
              <a:defRPr sz="1800" kern="1200">
                <a:solidFill>
                  <a:srgbClr val="FFFFFF"/>
                </a:solidFill>
                <a:latin typeface="Calibri" panose="020F0502020204030204"/>
              </a:defRPr>
            </a:lvl3pPr>
            <a:lvl4pPr marL="1371600" algn="l" defTabSz="914400" rtl="0" eaLnBrk="1" latinLnBrk="0" hangingPunct="1">
              <a:defRPr sz="1800" kern="1200">
                <a:solidFill>
                  <a:srgbClr val="FFFFFF"/>
                </a:solidFill>
                <a:latin typeface="Calibri" panose="020F0502020204030204"/>
              </a:defRPr>
            </a:lvl4pPr>
            <a:lvl5pPr marL="1828800" algn="l" defTabSz="914400" rtl="0" eaLnBrk="1" latinLnBrk="0" hangingPunct="1">
              <a:defRPr sz="1800" kern="1200">
                <a:solidFill>
                  <a:srgbClr val="FFFFFF"/>
                </a:solidFill>
                <a:latin typeface="Calibri" panose="020F0502020204030204"/>
              </a:defRPr>
            </a:lvl5pPr>
            <a:lvl6pPr marL="2286000" algn="l" defTabSz="914400" rtl="0" eaLnBrk="1" latinLnBrk="0" hangingPunct="1">
              <a:defRPr sz="1800" kern="1200">
                <a:solidFill>
                  <a:srgbClr val="FFFFFF"/>
                </a:solidFill>
                <a:latin typeface="Calibri" panose="020F0502020204030204"/>
              </a:defRPr>
            </a:lvl6pPr>
            <a:lvl7pPr marL="2743200" algn="l" defTabSz="914400" rtl="0" eaLnBrk="1" latinLnBrk="0" hangingPunct="1">
              <a:defRPr sz="1800" kern="1200">
                <a:solidFill>
                  <a:srgbClr val="FFFFFF"/>
                </a:solidFill>
                <a:latin typeface="Calibri" panose="020F0502020204030204"/>
              </a:defRPr>
            </a:lvl7pPr>
            <a:lvl8pPr marL="3200400" algn="l" defTabSz="914400" rtl="0" eaLnBrk="1" latinLnBrk="0" hangingPunct="1">
              <a:defRPr sz="1800" kern="1200">
                <a:solidFill>
                  <a:srgbClr val="FFFFFF"/>
                </a:solidFill>
                <a:latin typeface="Calibri" panose="020F0502020204030204"/>
              </a:defRPr>
            </a:lvl8pPr>
            <a:lvl9pPr marL="3657600" algn="l" defTabSz="914400" rtl="0" eaLnBrk="1" latinLnBrk="0" hangingPunct="1">
              <a:defRPr sz="1800" kern="1200">
                <a:solidFill>
                  <a:srgbClr val="FFFFFF"/>
                </a:solidFill>
                <a:latin typeface="Calibri" panose="020F0502020204030204"/>
              </a:defRPr>
            </a:lvl9pPr>
          </a:lstStyle>
          <a:p>
            <a:r>
              <a:rPr lang="en-US" sz="1600" b="1" dirty="0">
                <a:solidFill>
                  <a:schemeClr val="accent1">
                    <a:lumMod val="20000"/>
                    <a:lumOff val="80000"/>
                  </a:schemeClr>
                </a:solidFill>
                <a:latin typeface="+mn-lt"/>
              </a:rPr>
              <a:t>Build long-term wealth</a:t>
            </a:r>
          </a:p>
          <a:p>
            <a:pPr>
              <a:spcAft>
                <a:spcPts val="600"/>
              </a:spcAft>
            </a:pPr>
            <a:r>
              <a:rPr lang="en-US" sz="1100" dirty="0">
                <a:solidFill>
                  <a:schemeClr val="bg1"/>
                </a:solidFill>
              </a:rPr>
              <a:t>Business owners can offer employees a path to long-term wealth through a retirement plan</a:t>
            </a:r>
            <a:r>
              <a:rPr lang="en-US" sz="1100" strike="sngStrike" dirty="0">
                <a:solidFill>
                  <a:schemeClr val="bg1"/>
                </a:solidFill>
              </a:rPr>
              <a:t>s </a:t>
            </a:r>
            <a:r>
              <a:rPr lang="en-US" sz="1100" dirty="0">
                <a:solidFill>
                  <a:schemeClr val="bg1"/>
                </a:solidFill>
              </a:rPr>
              <a:t>with bundled tools to reduce financial stress</a:t>
            </a:r>
          </a:p>
        </p:txBody>
      </p:sp>
      <p:sp>
        <p:nvSpPr>
          <p:cNvPr id="115" name="TextBox 114">
            <a:extLst>
              <a:ext uri="{FF2B5EF4-FFF2-40B4-BE49-F238E27FC236}">
                <a16:creationId xmlns:a16="http://schemas.microsoft.com/office/drawing/2014/main" id="{BCCE70A9-5DA6-8015-C3AA-C8067A5CF8B8}"/>
              </a:ext>
            </a:extLst>
          </p:cNvPr>
          <p:cNvSpPr txBox="1"/>
          <p:nvPr/>
        </p:nvSpPr>
        <p:spPr>
          <a:xfrm>
            <a:off x="0" y="4789584"/>
            <a:ext cx="687754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>
                <a:latin typeface="+mj-lt"/>
              </a:rPr>
              <a:t>Debunking common myths about 401(k) plans</a:t>
            </a:r>
          </a:p>
        </p:txBody>
      </p:sp>
      <p:grpSp>
        <p:nvGrpSpPr>
          <p:cNvPr id="116" name="Group 115">
            <a:extLst>
              <a:ext uri="{FF2B5EF4-FFF2-40B4-BE49-F238E27FC236}">
                <a16:creationId xmlns:a16="http://schemas.microsoft.com/office/drawing/2014/main" id="{93F40DCC-CFA8-A28E-2697-20C4BEB87EA1}"/>
              </a:ext>
            </a:extLst>
          </p:cNvPr>
          <p:cNvGrpSpPr/>
          <p:nvPr/>
        </p:nvGrpSpPr>
        <p:grpSpPr>
          <a:xfrm>
            <a:off x="1535722" y="5175100"/>
            <a:ext cx="5029200" cy="2909720"/>
            <a:chOff x="449262" y="1516062"/>
            <a:chExt cx="6479857" cy="5691639"/>
          </a:xfrm>
        </p:grpSpPr>
        <p:sp>
          <p:nvSpPr>
            <p:cNvPr id="117" name="Rectangle: Top Corners Rounded 116">
              <a:extLst>
                <a:ext uri="{FF2B5EF4-FFF2-40B4-BE49-F238E27FC236}">
                  <a16:creationId xmlns:a16="http://schemas.microsoft.com/office/drawing/2014/main" id="{58E09BB4-C5C8-C12F-B7B2-DD2D88B89A05}"/>
                </a:ext>
              </a:extLst>
            </p:cNvPr>
            <p:cNvSpPr>
              <a:spLocks/>
            </p:cNvSpPr>
            <p:nvPr/>
          </p:nvSpPr>
          <p:spPr>
            <a:xfrm>
              <a:off x="449262" y="1516062"/>
              <a:ext cx="6479857" cy="5691639"/>
            </a:xfrm>
            <a:prstGeom prst="round2SameRect">
              <a:avLst>
                <a:gd name="adj1" fmla="val 11434"/>
                <a:gd name="adj2" fmla="val 0"/>
              </a:avLst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t" anchorCtr="0">
              <a:normAutofit/>
            </a:bodyPr>
            <a:lstStyle/>
            <a:p>
              <a:pPr marR="0" lvl="0" indent="0" algn="ctr" defTabSz="806867" fontAlgn="auto">
                <a:lnSpc>
                  <a:spcPct val="100000"/>
                </a:lnSpc>
                <a:spcBef>
                  <a:spcPts val="0"/>
                </a:spcBef>
                <a:spcAft>
                  <a:spcPts val="42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30000" noProof="0" dirty="0">
                <a:ln>
                  <a:noFill/>
                </a:ln>
                <a:solidFill>
                  <a:srgbClr val="4C4C4C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8" name="Rectangle: Top Corners Rounded 117">
              <a:extLst>
                <a:ext uri="{FF2B5EF4-FFF2-40B4-BE49-F238E27FC236}">
                  <a16:creationId xmlns:a16="http://schemas.microsoft.com/office/drawing/2014/main" id="{AAEB50C8-8E48-6BB2-F6B6-605C1F5E090A}"/>
                </a:ext>
              </a:extLst>
            </p:cNvPr>
            <p:cNvSpPr>
              <a:spLocks/>
            </p:cNvSpPr>
            <p:nvPr/>
          </p:nvSpPr>
          <p:spPr>
            <a:xfrm>
              <a:off x="449262" y="1516063"/>
              <a:ext cx="6479857" cy="520001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t" anchorCtr="0">
              <a:normAutofit/>
            </a:bodyPr>
            <a:lstStyle/>
            <a:p>
              <a:pPr marR="0" lvl="0" indent="0" algn="ctr" defTabSz="806867" fontAlgn="auto">
                <a:lnSpc>
                  <a:spcPct val="100000"/>
                </a:lnSpc>
                <a:spcBef>
                  <a:spcPts val="0"/>
                </a:spcBef>
                <a:spcAft>
                  <a:spcPts val="42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30000" noProof="0" dirty="0">
                <a:ln>
                  <a:noFill/>
                </a:ln>
                <a:solidFill>
                  <a:srgbClr val="4C4C4C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aphicFrame>
        <p:nvGraphicFramePr>
          <p:cNvPr id="124" name="Table 23">
            <a:extLst>
              <a:ext uri="{FF2B5EF4-FFF2-40B4-BE49-F238E27FC236}">
                <a16:creationId xmlns:a16="http://schemas.microsoft.com/office/drawing/2014/main" id="{8F1994F1-9394-1A25-B1FE-4C59B9230C75}"/>
              </a:ext>
            </a:extLst>
          </p:cNvPr>
          <p:cNvGraphicFramePr>
            <a:graphicFrameLocks noGrp="1"/>
          </p:cNvGraphicFramePr>
          <p:nvPr/>
        </p:nvGraphicFramePr>
        <p:xfrm>
          <a:off x="1549411" y="5171441"/>
          <a:ext cx="4990599" cy="2889878"/>
        </p:xfrm>
        <a:graphic>
          <a:graphicData uri="http://schemas.openxmlformats.org/drawingml/2006/table">
            <a:tbl>
              <a:tblPr firstRow="1" bandRow="1">
                <a:tableStyleId>{10A1B5D5-9B99-4C35-A422-299274C87663}</a:tableStyleId>
              </a:tblPr>
              <a:tblGrid>
                <a:gridCol w="1637612">
                  <a:extLst>
                    <a:ext uri="{9D8B030D-6E8A-4147-A177-3AD203B41FA5}">
                      <a16:colId xmlns:a16="http://schemas.microsoft.com/office/drawing/2014/main" val="1318330864"/>
                    </a:ext>
                  </a:extLst>
                </a:gridCol>
                <a:gridCol w="3352987">
                  <a:extLst>
                    <a:ext uri="{9D8B030D-6E8A-4147-A177-3AD203B41FA5}">
                      <a16:colId xmlns:a16="http://schemas.microsoft.com/office/drawing/2014/main" val="3999894382"/>
                    </a:ext>
                  </a:extLst>
                </a:gridCol>
              </a:tblGrid>
              <a:tr h="269875">
                <a:tc>
                  <a:txBody>
                    <a:bodyPr/>
                    <a:lstStyle/>
                    <a:p>
                      <a:pPr algn="l"/>
                      <a:r>
                        <a:rPr lang="en-US" sz="1050" b="0" dirty="0">
                          <a:latin typeface="+mj-lt"/>
                        </a:rPr>
                        <a:t>Myth</a:t>
                      </a:r>
                    </a:p>
                  </a:txBody>
                  <a:tcPr>
                    <a:lnL w="12700" cmpd="sng"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050" b="0" dirty="0">
                          <a:latin typeface="+mj-lt"/>
                        </a:rPr>
                        <a:t>Reality</a:t>
                      </a:r>
                    </a:p>
                  </a:txBody>
                  <a:tcPr>
                    <a:lnL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42959765"/>
                  </a:ext>
                </a:extLst>
              </a:tr>
              <a:tr h="598092">
                <a:tc>
                  <a:txBody>
                    <a:bodyPr/>
                    <a:lstStyle/>
                    <a:p>
                      <a:r>
                        <a:rPr lang="en-US" sz="1000" b="1" dirty="0">
                          <a:solidFill>
                            <a:schemeClr val="accent2"/>
                          </a:solidFill>
                          <a:latin typeface="+mn-lt"/>
                        </a:rPr>
                        <a:t>Business owners need </a:t>
                      </a:r>
                      <a:br>
                        <a:rPr lang="en-US" sz="1000" b="1" dirty="0">
                          <a:solidFill>
                            <a:schemeClr val="accent2"/>
                          </a:solidFill>
                          <a:latin typeface="+mn-lt"/>
                        </a:rPr>
                      </a:br>
                      <a:r>
                        <a:rPr lang="en-US" sz="1000" b="1" dirty="0">
                          <a:solidFill>
                            <a:schemeClr val="accent2"/>
                          </a:solidFill>
                          <a:latin typeface="+mn-lt"/>
                        </a:rPr>
                        <a:t>investment knowledge to advise employees</a:t>
                      </a:r>
                    </a:p>
                  </a:txBody>
                  <a:tcPr marR="0" anchor="ctr">
                    <a:lnL w="12700" cmpd="sng"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900" b="1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False. </a:t>
                      </a:r>
                      <a:r>
                        <a:rPr lang="en-GB" sz="9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Participant support should be provided by the plan provider. </a:t>
                      </a:r>
                      <a:br>
                        <a:rPr lang="en-GB" sz="9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en-GB" sz="9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In some cases, like pooled employer plans, the investment lineup is </a:t>
                      </a:r>
                      <a:br>
                        <a:rPr lang="en-GB" sz="9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en-GB" sz="9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pre-selected.</a:t>
                      </a:r>
                      <a:endParaRPr lang="en-US" sz="900" strike="sngStrike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17433221"/>
                  </a:ext>
                </a:extLst>
              </a:tr>
              <a:tr h="648952">
                <a:tc>
                  <a:txBody>
                    <a:bodyPr/>
                    <a:lstStyle/>
                    <a:p>
                      <a:r>
                        <a:rPr lang="en-US" sz="1000" b="1" dirty="0">
                          <a:solidFill>
                            <a:schemeClr val="accent2"/>
                          </a:solidFill>
                          <a:latin typeface="+mn-lt"/>
                        </a:rPr>
                        <a:t>Owners don’t need a retirement plan; they can </a:t>
                      </a:r>
                      <a:r>
                        <a:rPr lang="en-US" sz="1000" b="1" strike="noStrike" dirty="0">
                          <a:solidFill>
                            <a:schemeClr val="accent2"/>
                          </a:solidFill>
                          <a:latin typeface="+mn-lt"/>
                        </a:rPr>
                        <a:t>just sell </a:t>
                      </a:r>
                      <a:r>
                        <a:rPr lang="en-US" sz="1000" b="1" dirty="0">
                          <a:solidFill>
                            <a:schemeClr val="accent2"/>
                          </a:solidFill>
                          <a:latin typeface="+mn-lt"/>
                        </a:rPr>
                        <a:t>their business</a:t>
                      </a:r>
                      <a:endParaRPr lang="en-US" sz="1000" b="1" strike="sngStrike" dirty="0">
                        <a:solidFill>
                          <a:schemeClr val="accent2"/>
                        </a:solidFill>
                        <a:effectLst/>
                        <a:latin typeface="+mn-lt"/>
                      </a:endParaRPr>
                    </a:p>
                  </a:txBody>
                  <a:tcPr marR="0" anchor="ctr">
                    <a:lnL w="12700" cmpd="sng"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900" b="1" dirty="0">
                          <a:latin typeface="+mn-lt"/>
                        </a:rPr>
                        <a:t>Not likely. </a:t>
                      </a:r>
                      <a:r>
                        <a:rPr lang="en-GB" sz="9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Small business owners frequently sacrifice retirement security to sustain their businesses. In surveys, 21% used retirement savings for their business, and 40% lack confidence in retiring before age 65.</a:t>
                      </a:r>
                      <a:endParaRPr lang="en-US" sz="9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71881456"/>
                  </a:ext>
                </a:extLst>
              </a:tr>
              <a:tr h="648952">
                <a:tc>
                  <a:txBody>
                    <a:bodyPr/>
                    <a:lstStyle/>
                    <a:p>
                      <a:r>
                        <a:rPr lang="en-US" sz="1000" b="1" dirty="0">
                          <a:solidFill>
                            <a:schemeClr val="accent2"/>
                          </a:solidFill>
                          <a:latin typeface="+mn-lt"/>
                        </a:rPr>
                        <a:t>My business is too small to offer workplace retirement</a:t>
                      </a:r>
                      <a:endParaRPr lang="en-US" sz="1000" b="1" strike="sngStrike" dirty="0">
                        <a:solidFill>
                          <a:schemeClr val="accent2"/>
                        </a:solidFill>
                        <a:latin typeface="+mn-lt"/>
                      </a:endParaRPr>
                    </a:p>
                  </a:txBody>
                  <a:tcPr marR="0" anchor="ctr">
                    <a:lnL w="12700" cmpd="sng"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900" b="1" dirty="0">
                          <a:latin typeface="+mn-lt"/>
                        </a:rPr>
                        <a:t>Not true. </a:t>
                      </a:r>
                      <a:r>
                        <a:rPr lang="en-GB" sz="9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63% of small business owners lack the resources for retirement plan administration. Pooled employer plans were designed to address this, making 401(k)s accessible to small businesses with limited resources</a:t>
                      </a:r>
                      <a:endParaRPr lang="en-US" sz="9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19233171"/>
                  </a:ext>
                </a:extLst>
              </a:tr>
              <a:tr h="724007">
                <a:tc>
                  <a:txBody>
                    <a:bodyPr/>
                    <a:lstStyle/>
                    <a:p>
                      <a:r>
                        <a:rPr lang="en-US" sz="1000" b="1" dirty="0">
                          <a:solidFill>
                            <a:schemeClr val="accent2"/>
                          </a:solidFill>
                          <a:latin typeface="+mn-lt"/>
                        </a:rPr>
                        <a:t>Employees just want more pay; they don’t value </a:t>
                      </a:r>
                      <a:br>
                        <a:rPr lang="en-US" sz="1000" b="1" dirty="0">
                          <a:solidFill>
                            <a:schemeClr val="accent2"/>
                          </a:solidFill>
                          <a:latin typeface="+mn-lt"/>
                        </a:rPr>
                      </a:br>
                      <a:r>
                        <a:rPr lang="en-US" sz="1000" b="1" dirty="0">
                          <a:solidFill>
                            <a:schemeClr val="accent2"/>
                          </a:solidFill>
                          <a:latin typeface="+mn-lt"/>
                        </a:rPr>
                        <a:t>having a retirement benefit</a:t>
                      </a:r>
                    </a:p>
                  </a:txBody>
                  <a:tcPr marR="0" anchor="ctr">
                    <a:lnL w="12700" cmpd="sng"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1" dirty="0">
                          <a:latin typeface="+mn-lt"/>
                        </a:rPr>
                        <a:t>Not necessarily. </a:t>
                      </a:r>
                      <a:r>
                        <a:rPr lang="en-GB" sz="9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Competitive pay matters, but </a:t>
                      </a:r>
                      <a:r>
                        <a:rPr lang="en-US" sz="900" dirty="0">
                          <a:latin typeface="+mn-lt"/>
                        </a:rPr>
                        <a:t>48% of departing employees reported lack of retirement benefits influenced their decision to leave.</a:t>
                      </a:r>
                      <a:r>
                        <a:rPr lang="en-US" sz="900" strike="noStrike" baseline="30000" dirty="0">
                          <a:latin typeface="+mn-lt"/>
                        </a:rPr>
                        <a:t>3</a:t>
                      </a:r>
                    </a:p>
                  </a:txBody>
                  <a:tcPr marR="0" anchor="ctr">
                    <a:lnL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3411803"/>
                  </a:ext>
                </a:extLst>
              </a:tr>
            </a:tbl>
          </a:graphicData>
        </a:graphic>
      </p:graphicFrame>
      <p:sp>
        <p:nvSpPr>
          <p:cNvPr id="125" name="Rectangle 124">
            <a:extLst>
              <a:ext uri="{FF2B5EF4-FFF2-40B4-BE49-F238E27FC236}">
                <a16:creationId xmlns:a16="http://schemas.microsoft.com/office/drawing/2014/main" id="{8C29CC5B-EDFA-BC53-155F-FF7A15EA7CC4}"/>
              </a:ext>
            </a:extLst>
          </p:cNvPr>
          <p:cNvSpPr/>
          <p:nvPr/>
        </p:nvSpPr>
        <p:spPr>
          <a:xfrm>
            <a:off x="0" y="8054340"/>
            <a:ext cx="6858000" cy="1089660"/>
          </a:xfrm>
          <a:prstGeom prst="rect">
            <a:avLst/>
          </a:prstGeom>
          <a:gradFill flip="none" rotWithShape="1">
            <a:gsLst>
              <a:gs pos="100000">
                <a:schemeClr val="accent5">
                  <a:lumMod val="75000"/>
                </a:schemeClr>
              </a:gs>
              <a:gs pos="5000">
                <a:schemeClr val="accent1">
                  <a:lumMod val="75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400" dirty="0" err="1"/>
          </a:p>
        </p:txBody>
      </p:sp>
      <p:sp>
        <p:nvSpPr>
          <p:cNvPr id="1104" name="TextBox 1103">
            <a:extLst>
              <a:ext uri="{FF2B5EF4-FFF2-40B4-BE49-F238E27FC236}">
                <a16:creationId xmlns:a16="http://schemas.microsoft.com/office/drawing/2014/main" id="{DAEA4D2B-3E2A-B010-4F71-493D05E94DD0}"/>
              </a:ext>
            </a:extLst>
          </p:cNvPr>
          <p:cNvSpPr txBox="1"/>
          <p:nvPr/>
        </p:nvSpPr>
        <p:spPr>
          <a:xfrm>
            <a:off x="1084063" y="8206756"/>
            <a:ext cx="2771462" cy="784830"/>
          </a:xfrm>
          <a:prstGeom prst="rect">
            <a:avLst/>
          </a:prstGeom>
          <a:noFill/>
        </p:spPr>
        <p:txBody>
          <a:bodyPr wrap="square" tIns="0" anchor="ctr" anchorCtr="0">
            <a:noAutofit/>
          </a:bodyPr>
          <a:lstStyle/>
          <a:p>
            <a:pPr>
              <a:spcAft>
                <a:spcPts val="300"/>
              </a:spcAft>
            </a:pPr>
            <a:r>
              <a:rPr lang="en-US" sz="1200" b="1" dirty="0">
                <a:solidFill>
                  <a:schemeClr val="bg1"/>
                </a:solidFill>
              </a:rPr>
              <a:t>Fidelity Advantage 401(k)</a:t>
            </a:r>
            <a:r>
              <a:rPr lang="en-US" sz="1200" b="1" baseline="30000" dirty="0">
                <a:solidFill>
                  <a:schemeClr val="bg1"/>
                </a:solidFill>
              </a:rPr>
              <a:t>SM</a:t>
            </a:r>
            <a:endParaRPr lang="en-US" sz="1200" b="1" dirty="0">
              <a:solidFill>
                <a:schemeClr val="bg1"/>
              </a:solidFill>
            </a:endParaRPr>
          </a:p>
          <a:p>
            <a:pPr>
              <a:spcAft>
                <a:spcPts val="300"/>
              </a:spcAft>
            </a:pPr>
            <a:r>
              <a:rPr lang="en-US" sz="900" dirty="0">
                <a:solidFill>
                  <a:schemeClr val="bg1"/>
                </a:solidFill>
              </a:rPr>
              <a:t>A 401(k) plan built for small businesses.</a:t>
            </a:r>
          </a:p>
          <a:p>
            <a:r>
              <a:rPr lang="en-US" sz="900" b="1" dirty="0">
                <a:solidFill>
                  <a:schemeClr val="bg1"/>
                </a:solidFill>
              </a:rPr>
              <a:t>Questions?</a:t>
            </a:r>
          </a:p>
          <a:p>
            <a:r>
              <a:rPr lang="en-US" sz="900" dirty="0">
                <a:solidFill>
                  <a:schemeClr val="bg1"/>
                </a:solidFill>
              </a:rPr>
              <a:t>FidelityAdvantageInfo@fmr.com</a:t>
            </a:r>
          </a:p>
        </p:txBody>
      </p:sp>
      <p:sp>
        <p:nvSpPr>
          <p:cNvPr id="1106" name="TextBox 1105">
            <a:extLst>
              <a:ext uri="{FF2B5EF4-FFF2-40B4-BE49-F238E27FC236}">
                <a16:creationId xmlns:a16="http://schemas.microsoft.com/office/drawing/2014/main" id="{5582EE5C-58CA-7ADE-3C79-00E44D2823C8}"/>
              </a:ext>
            </a:extLst>
          </p:cNvPr>
          <p:cNvSpPr txBox="1"/>
          <p:nvPr/>
        </p:nvSpPr>
        <p:spPr>
          <a:xfrm>
            <a:off x="4169396" y="8130882"/>
            <a:ext cx="2589586" cy="51296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lnSpc>
                <a:spcPts val="800"/>
              </a:lnSpc>
            </a:pPr>
            <a:r>
              <a:rPr lang="en-US" sz="700" baseline="30000" dirty="0">
                <a:solidFill>
                  <a:schemeClr val="bg1"/>
                </a:solidFill>
              </a:rPr>
              <a:t>1,2,3 </a:t>
            </a:r>
            <a:r>
              <a:rPr lang="en-US" sz="700" dirty="0">
                <a:solidFill>
                  <a:schemeClr val="bg1"/>
                </a:solidFill>
              </a:rPr>
              <a:t>SCORE Small Business Retirement – Investing in Your Future, December, 2022</a:t>
            </a:r>
          </a:p>
          <a:p>
            <a:pPr algn="r">
              <a:lnSpc>
                <a:spcPts val="800"/>
              </a:lnSpc>
            </a:pPr>
            <a:r>
              <a:rPr lang="en-US" sz="700" dirty="0">
                <a:solidFill>
                  <a:schemeClr val="bg1"/>
                </a:solidFill>
              </a:rPr>
              <a:t>Fidelity Investments Institutional Operations Company LLC</a:t>
            </a:r>
          </a:p>
          <a:p>
            <a:pPr algn="r">
              <a:lnSpc>
                <a:spcPts val="800"/>
              </a:lnSpc>
            </a:pPr>
            <a:r>
              <a:rPr lang="en-US" sz="700" dirty="0">
                <a:solidFill>
                  <a:schemeClr val="bg1"/>
                </a:solidFill>
              </a:rPr>
              <a:t>245 Summer Street, Boston, MA 02210</a:t>
            </a:r>
          </a:p>
          <a:p>
            <a:pPr algn="r">
              <a:lnSpc>
                <a:spcPts val="800"/>
              </a:lnSpc>
            </a:pPr>
            <a:r>
              <a:rPr lang="en-US" sz="700" dirty="0">
                <a:solidFill>
                  <a:schemeClr val="bg1"/>
                </a:solidFill>
              </a:rPr>
              <a:t>1108205.1.0</a:t>
            </a:r>
          </a:p>
        </p:txBody>
      </p:sp>
      <p:grpSp>
        <p:nvGrpSpPr>
          <p:cNvPr id="1108" name="Group 1107">
            <a:extLst>
              <a:ext uri="{FF2B5EF4-FFF2-40B4-BE49-F238E27FC236}">
                <a16:creationId xmlns:a16="http://schemas.microsoft.com/office/drawing/2014/main" id="{BFD6010E-3014-6582-ED45-A6D1261EFBB4}"/>
              </a:ext>
            </a:extLst>
          </p:cNvPr>
          <p:cNvGrpSpPr/>
          <p:nvPr/>
        </p:nvGrpSpPr>
        <p:grpSpPr>
          <a:xfrm>
            <a:off x="216208" y="8209048"/>
            <a:ext cx="780245" cy="780245"/>
            <a:chOff x="7312328" y="7693722"/>
            <a:chExt cx="780245" cy="780245"/>
          </a:xfrm>
        </p:grpSpPr>
        <p:sp>
          <p:nvSpPr>
            <p:cNvPr id="1107" name="Rectangle: Rounded Corners 1106">
              <a:extLst>
                <a:ext uri="{FF2B5EF4-FFF2-40B4-BE49-F238E27FC236}">
                  <a16:creationId xmlns:a16="http://schemas.microsoft.com/office/drawing/2014/main" id="{4C060B57-3F84-A5CA-F0CF-4824BCA954FE}"/>
                </a:ext>
              </a:extLst>
            </p:cNvPr>
            <p:cNvSpPr/>
            <p:nvPr/>
          </p:nvSpPr>
          <p:spPr>
            <a:xfrm>
              <a:off x="7312328" y="7693722"/>
              <a:ext cx="780245" cy="780245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  <a:effectLst>
              <a:outerShdw blurRad="63500" sx="102000" sy="102000" algn="ctr" rotWithShape="0">
                <a:prstClr val="black">
                  <a:alpha val="26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rmAutofit/>
            </a:bodyPr>
            <a:lstStyle/>
            <a:p>
              <a:pPr algn="ctr"/>
              <a:endParaRPr lang="en-GB" sz="1400" dirty="0" err="1"/>
            </a:p>
          </p:txBody>
        </p:sp>
        <p:pic>
          <p:nvPicPr>
            <p:cNvPr id="1103" name="Picture 1102" descr="A qr code on a white background&#10;&#10;Description automatically generated">
              <a:extLst>
                <a:ext uri="{FF2B5EF4-FFF2-40B4-BE49-F238E27FC236}">
                  <a16:creationId xmlns:a16="http://schemas.microsoft.com/office/drawing/2014/main" id="{C05C760E-D216-A987-4701-F0311D846AEA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7361743" y="7743137"/>
              <a:ext cx="681415" cy="681415"/>
            </a:xfrm>
            <a:prstGeom prst="rect">
              <a:avLst/>
            </a:prstGeom>
          </p:spPr>
        </p:pic>
      </p:grpSp>
      <p:grpSp>
        <p:nvGrpSpPr>
          <p:cNvPr id="1145" name="Group 1144">
            <a:extLst>
              <a:ext uri="{FF2B5EF4-FFF2-40B4-BE49-F238E27FC236}">
                <a16:creationId xmlns:a16="http://schemas.microsoft.com/office/drawing/2014/main" id="{9DEE0FDC-2148-4AA2-194C-1C13461E25DB}"/>
              </a:ext>
            </a:extLst>
          </p:cNvPr>
          <p:cNvGrpSpPr/>
          <p:nvPr/>
        </p:nvGrpSpPr>
        <p:grpSpPr>
          <a:xfrm>
            <a:off x="3421679" y="2617470"/>
            <a:ext cx="533400" cy="533400"/>
            <a:chOff x="3502660" y="2606040"/>
            <a:chExt cx="533400" cy="533400"/>
          </a:xfrm>
        </p:grpSpPr>
        <p:sp>
          <p:nvSpPr>
            <p:cNvPr id="1136" name="Oval 1135">
              <a:extLst>
                <a:ext uri="{FF2B5EF4-FFF2-40B4-BE49-F238E27FC236}">
                  <a16:creationId xmlns:a16="http://schemas.microsoft.com/office/drawing/2014/main" id="{4C84650D-C8C6-8481-EE0A-47260631BD22}"/>
                </a:ext>
              </a:extLst>
            </p:cNvPr>
            <p:cNvSpPr/>
            <p:nvPr/>
          </p:nvSpPr>
          <p:spPr>
            <a:xfrm>
              <a:off x="3502660" y="2606040"/>
              <a:ext cx="533400" cy="533400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400" dirty="0" err="1"/>
            </a:p>
          </p:txBody>
        </p:sp>
        <p:grpSp>
          <p:nvGrpSpPr>
            <p:cNvPr id="1132" name="Group 1131">
              <a:extLst>
                <a:ext uri="{FF2B5EF4-FFF2-40B4-BE49-F238E27FC236}">
                  <a16:creationId xmlns:a16="http://schemas.microsoft.com/office/drawing/2014/main" id="{C7354CA5-E0F6-1B1B-239E-E466E81F51D5}"/>
                </a:ext>
              </a:extLst>
            </p:cNvPr>
            <p:cNvGrpSpPr/>
            <p:nvPr/>
          </p:nvGrpSpPr>
          <p:grpSpPr>
            <a:xfrm>
              <a:off x="3641186" y="2744566"/>
              <a:ext cx="256348" cy="256348"/>
              <a:chOff x="1274763" y="5600700"/>
              <a:chExt cx="198437" cy="198437"/>
            </a:xfrm>
          </p:grpSpPr>
          <p:sp>
            <p:nvSpPr>
              <p:cNvPr id="1133" name="Line 29">
                <a:extLst>
                  <a:ext uri="{FF2B5EF4-FFF2-40B4-BE49-F238E27FC236}">
                    <a16:creationId xmlns:a16="http://schemas.microsoft.com/office/drawing/2014/main" id="{1BFD85B9-A8C7-12AB-401F-9B15B0393D8A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1274763" y="5600700"/>
                <a:ext cx="198437" cy="198437"/>
              </a:xfrm>
              <a:prstGeom prst="line">
                <a:avLst/>
              </a:prstGeom>
              <a:noFill/>
              <a:ln w="12700" cap="rnd">
                <a:solidFill>
                  <a:schemeClr val="bg1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1"/>
              </a:p>
            </p:txBody>
          </p:sp>
          <p:sp>
            <p:nvSpPr>
              <p:cNvPr id="1134" name="Oval 30">
                <a:extLst>
                  <a:ext uri="{FF2B5EF4-FFF2-40B4-BE49-F238E27FC236}">
                    <a16:creationId xmlns:a16="http://schemas.microsoft.com/office/drawing/2014/main" id="{1DB23B01-0F96-0BE3-00F2-A2300E647BC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82700" y="5610225"/>
                <a:ext cx="60325" cy="60325"/>
              </a:xfrm>
              <a:prstGeom prst="ellipse">
                <a:avLst/>
              </a:prstGeom>
              <a:noFill/>
              <a:ln w="12700" cap="rnd">
                <a:solidFill>
                  <a:schemeClr val="bg1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1"/>
              </a:p>
            </p:txBody>
          </p:sp>
          <p:sp>
            <p:nvSpPr>
              <p:cNvPr id="1135" name="Oval 31">
                <a:extLst>
                  <a:ext uri="{FF2B5EF4-FFF2-40B4-BE49-F238E27FC236}">
                    <a16:creationId xmlns:a16="http://schemas.microsoft.com/office/drawing/2014/main" id="{FD6BAFA0-D08B-EF06-6C31-66B478C8C64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03350" y="5730875"/>
                <a:ext cx="60325" cy="58737"/>
              </a:xfrm>
              <a:prstGeom prst="ellipse">
                <a:avLst/>
              </a:prstGeom>
              <a:noFill/>
              <a:ln w="12700" cap="rnd">
                <a:solidFill>
                  <a:schemeClr val="bg1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1"/>
              </a:p>
            </p:txBody>
          </p:sp>
        </p:grpSp>
      </p:grpSp>
      <p:grpSp>
        <p:nvGrpSpPr>
          <p:cNvPr id="41" name="Group 40">
            <a:extLst>
              <a:ext uri="{FF2B5EF4-FFF2-40B4-BE49-F238E27FC236}">
                <a16:creationId xmlns:a16="http://schemas.microsoft.com/office/drawing/2014/main" id="{30CF8245-AEF6-914E-DD0D-CBDAB78E0E1F}"/>
              </a:ext>
            </a:extLst>
          </p:cNvPr>
          <p:cNvGrpSpPr/>
          <p:nvPr/>
        </p:nvGrpSpPr>
        <p:grpSpPr>
          <a:xfrm>
            <a:off x="3683299" y="2898107"/>
            <a:ext cx="870024" cy="716086"/>
            <a:chOff x="10274937" y="5153208"/>
            <a:chExt cx="1084413" cy="892541"/>
          </a:xfrm>
        </p:grpSpPr>
        <p:sp>
          <p:nvSpPr>
            <p:cNvPr id="42" name="Freeform: Shape 41">
              <a:extLst>
                <a:ext uri="{FF2B5EF4-FFF2-40B4-BE49-F238E27FC236}">
                  <a16:creationId xmlns:a16="http://schemas.microsoft.com/office/drawing/2014/main" id="{BDA3908F-79BC-E46F-FCD2-EF5994A47C3E}"/>
                </a:ext>
              </a:extLst>
            </p:cNvPr>
            <p:cNvSpPr/>
            <p:nvPr/>
          </p:nvSpPr>
          <p:spPr>
            <a:xfrm rot="18923378">
              <a:off x="11053570" y="5475549"/>
              <a:ext cx="305780" cy="153475"/>
            </a:xfrm>
            <a:custGeom>
              <a:avLst/>
              <a:gdLst>
                <a:gd name="connsiteX0" fmla="*/ 40026 w 392021"/>
                <a:gd name="connsiteY0" fmla="*/ 94880 h 196761"/>
                <a:gd name="connsiteX1" fmla="*/ 120153 w 392021"/>
                <a:gd name="connsiteY1" fmla="*/ 118476 h 196761"/>
                <a:gd name="connsiteX2" fmla="*/ 161773 w 392021"/>
                <a:gd name="connsiteY2" fmla="*/ 121639 h 196761"/>
                <a:gd name="connsiteX3" fmla="*/ 202238 w 392021"/>
                <a:gd name="connsiteY3" fmla="*/ 118225 h 196761"/>
                <a:gd name="connsiteX4" fmla="*/ 220915 w 392021"/>
                <a:gd name="connsiteY4" fmla="*/ 113505 h 196761"/>
                <a:gd name="connsiteX5" fmla="*/ 237282 w 392021"/>
                <a:gd name="connsiteY5" fmla="*/ 106527 h 196761"/>
                <a:gd name="connsiteX6" fmla="*/ 249431 w 392021"/>
                <a:gd name="connsiteY6" fmla="*/ 97641 h 196761"/>
                <a:gd name="connsiteX7" fmla="*/ 255757 w 392021"/>
                <a:gd name="connsiteY7" fmla="*/ 88102 h 196761"/>
                <a:gd name="connsiteX8" fmla="*/ 253498 w 392021"/>
                <a:gd name="connsiteY8" fmla="*/ 66664 h 196761"/>
                <a:gd name="connsiteX9" fmla="*/ 233767 w 392021"/>
                <a:gd name="connsiteY9" fmla="*/ 51603 h 196761"/>
                <a:gd name="connsiteX10" fmla="*/ 211225 w 392021"/>
                <a:gd name="connsiteY10" fmla="*/ 56222 h 196761"/>
                <a:gd name="connsiteX11" fmla="*/ 208514 w 392021"/>
                <a:gd name="connsiteY11" fmla="*/ 58431 h 196761"/>
                <a:gd name="connsiteX12" fmla="*/ 205853 w 392021"/>
                <a:gd name="connsiteY12" fmla="*/ 60991 h 196761"/>
                <a:gd name="connsiteX13" fmla="*/ 203242 w 392021"/>
                <a:gd name="connsiteY13" fmla="*/ 63903 h 196761"/>
                <a:gd name="connsiteX14" fmla="*/ 201184 w 392021"/>
                <a:gd name="connsiteY14" fmla="*/ 66664 h 196761"/>
                <a:gd name="connsiteX15" fmla="*/ 195912 w 392021"/>
                <a:gd name="connsiteY15" fmla="*/ 78964 h 196761"/>
                <a:gd name="connsiteX16" fmla="*/ 195712 w 392021"/>
                <a:gd name="connsiteY16" fmla="*/ 92671 h 196761"/>
                <a:gd name="connsiteX17" fmla="*/ 200983 w 392021"/>
                <a:gd name="connsiteY17" fmla="*/ 107481 h 196761"/>
                <a:gd name="connsiteX18" fmla="*/ 224931 w 392021"/>
                <a:gd name="connsiteY18" fmla="*/ 136299 h 196761"/>
                <a:gd name="connsiteX19" fmla="*/ 228797 w 392021"/>
                <a:gd name="connsiteY19" fmla="*/ 139612 h 196761"/>
                <a:gd name="connsiteX20" fmla="*/ 232462 w 392021"/>
                <a:gd name="connsiteY20" fmla="*/ 142624 h 196761"/>
                <a:gd name="connsiteX21" fmla="*/ 235675 w 392021"/>
                <a:gd name="connsiteY21" fmla="*/ 145034 h 196761"/>
                <a:gd name="connsiteX22" fmla="*/ 239089 w 392021"/>
                <a:gd name="connsiteY22" fmla="*/ 147093 h 196761"/>
                <a:gd name="connsiteX23" fmla="*/ 254351 w 392021"/>
                <a:gd name="connsiteY23" fmla="*/ 152766 h 196761"/>
                <a:gd name="connsiteX24" fmla="*/ 291302 w 392021"/>
                <a:gd name="connsiteY24" fmla="*/ 152214 h 196761"/>
                <a:gd name="connsiteX25" fmla="*/ 369070 w 392021"/>
                <a:gd name="connsiteY25" fmla="*/ 119882 h 196761"/>
                <a:gd name="connsiteX26" fmla="*/ 369823 w 392021"/>
                <a:gd name="connsiteY26" fmla="*/ 119430 h 196761"/>
                <a:gd name="connsiteX27" fmla="*/ 389955 w 392021"/>
                <a:gd name="connsiteY27" fmla="*/ 124500 h 196761"/>
                <a:gd name="connsiteX28" fmla="*/ 387043 w 392021"/>
                <a:gd name="connsiteY28" fmla="*/ 143026 h 196761"/>
                <a:gd name="connsiteX29" fmla="*/ 367614 w 392021"/>
                <a:gd name="connsiteY29" fmla="*/ 158289 h 196761"/>
                <a:gd name="connsiteX30" fmla="*/ 347030 w 392021"/>
                <a:gd name="connsiteY30" fmla="*/ 171442 h 196761"/>
                <a:gd name="connsiteX31" fmla="*/ 300891 w 392021"/>
                <a:gd name="connsiteY31" fmla="*/ 191273 h 196761"/>
                <a:gd name="connsiteX32" fmla="*/ 274785 w 392021"/>
                <a:gd name="connsiteY32" fmla="*/ 196193 h 196761"/>
                <a:gd name="connsiteX33" fmla="*/ 246720 w 392021"/>
                <a:gd name="connsiteY33" fmla="*/ 195440 h 196761"/>
                <a:gd name="connsiteX34" fmla="*/ 218605 w 392021"/>
                <a:gd name="connsiteY34" fmla="*/ 186504 h 196761"/>
                <a:gd name="connsiteX35" fmla="*/ 212028 w 392021"/>
                <a:gd name="connsiteY35" fmla="*/ 182939 h 196761"/>
                <a:gd name="connsiteX36" fmla="*/ 205803 w 392021"/>
                <a:gd name="connsiteY36" fmla="*/ 178822 h 196761"/>
                <a:gd name="connsiteX37" fmla="*/ 200431 w 392021"/>
                <a:gd name="connsiteY37" fmla="*/ 174756 h 196761"/>
                <a:gd name="connsiteX38" fmla="*/ 195411 w 392021"/>
                <a:gd name="connsiteY38" fmla="*/ 170739 h 196761"/>
                <a:gd name="connsiteX39" fmla="*/ 159966 w 392021"/>
                <a:gd name="connsiteY39" fmla="*/ 130023 h 196761"/>
                <a:gd name="connsiteX40" fmla="*/ 149121 w 392021"/>
                <a:gd name="connsiteY40" fmla="*/ 102009 h 196761"/>
                <a:gd name="connsiteX41" fmla="*/ 148469 w 392021"/>
                <a:gd name="connsiteY41" fmla="*/ 70078 h 196761"/>
                <a:gd name="connsiteX42" fmla="*/ 160066 w 392021"/>
                <a:gd name="connsiteY42" fmla="*/ 39955 h 196761"/>
                <a:gd name="connsiteX43" fmla="*/ 164685 w 392021"/>
                <a:gd name="connsiteY43" fmla="*/ 33379 h 196761"/>
                <a:gd name="connsiteX44" fmla="*/ 169555 w 392021"/>
                <a:gd name="connsiteY44" fmla="*/ 27555 h 196761"/>
                <a:gd name="connsiteX45" fmla="*/ 174977 w 392021"/>
                <a:gd name="connsiteY45" fmla="*/ 21982 h 196761"/>
                <a:gd name="connsiteX46" fmla="*/ 181052 w 392021"/>
                <a:gd name="connsiteY46" fmla="*/ 16761 h 196761"/>
                <a:gd name="connsiteX47" fmla="*/ 211074 w 392021"/>
                <a:gd name="connsiteY47" fmla="*/ 2101 h 196761"/>
                <a:gd name="connsiteX48" fmla="*/ 245164 w 392021"/>
                <a:gd name="connsiteY48" fmla="*/ 1749 h 196761"/>
                <a:gd name="connsiteX49" fmla="*/ 298180 w 392021"/>
                <a:gd name="connsiteY49" fmla="*/ 38901 h 196761"/>
                <a:gd name="connsiteX50" fmla="*/ 309878 w 392021"/>
                <a:gd name="connsiteY50" fmla="*/ 71032 h 196761"/>
                <a:gd name="connsiteX51" fmla="*/ 306363 w 392021"/>
                <a:gd name="connsiteY51" fmla="*/ 105623 h 196761"/>
                <a:gd name="connsiteX52" fmla="*/ 288591 w 392021"/>
                <a:gd name="connsiteY52" fmla="*/ 134792 h 196761"/>
                <a:gd name="connsiteX53" fmla="*/ 264342 w 392021"/>
                <a:gd name="connsiteY53" fmla="*/ 153720 h 196761"/>
                <a:gd name="connsiteX54" fmla="*/ 238737 w 392021"/>
                <a:gd name="connsiteY54" fmla="*/ 165367 h 196761"/>
                <a:gd name="connsiteX55" fmla="*/ 213033 w 392021"/>
                <a:gd name="connsiteY55" fmla="*/ 172396 h 196761"/>
                <a:gd name="connsiteX56" fmla="*/ 112120 w 392021"/>
                <a:gd name="connsiteY56" fmla="*/ 174203 h 196761"/>
                <a:gd name="connsiteX57" fmla="*/ 16430 w 392021"/>
                <a:gd name="connsiteY57" fmla="*/ 146289 h 196761"/>
                <a:gd name="connsiteX58" fmla="*/ 2623 w 392021"/>
                <a:gd name="connsiteY58" fmla="*/ 108786 h 196761"/>
                <a:gd name="connsiteX59" fmla="*/ 39926 w 392021"/>
                <a:gd name="connsiteY59" fmla="*/ 94880 h 196761"/>
                <a:gd name="connsiteX60" fmla="*/ 40076 w 392021"/>
                <a:gd name="connsiteY60" fmla="*/ 94880 h 1967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</a:cxnLst>
              <a:rect l="l" t="t" r="r" b="b"/>
              <a:pathLst>
                <a:path w="392021" h="196761">
                  <a:moveTo>
                    <a:pt x="40026" y="94880"/>
                  </a:moveTo>
                  <a:cubicBezTo>
                    <a:pt x="65279" y="106326"/>
                    <a:pt x="92490" y="114309"/>
                    <a:pt x="120153" y="118476"/>
                  </a:cubicBezTo>
                  <a:cubicBezTo>
                    <a:pt x="134010" y="120585"/>
                    <a:pt x="147967" y="121639"/>
                    <a:pt x="161773" y="121639"/>
                  </a:cubicBezTo>
                  <a:cubicBezTo>
                    <a:pt x="175579" y="121639"/>
                    <a:pt x="189285" y="120685"/>
                    <a:pt x="202238" y="118225"/>
                  </a:cubicBezTo>
                  <a:cubicBezTo>
                    <a:pt x="208715" y="117070"/>
                    <a:pt x="215041" y="115464"/>
                    <a:pt x="220915" y="113505"/>
                  </a:cubicBezTo>
                  <a:cubicBezTo>
                    <a:pt x="226889" y="111598"/>
                    <a:pt x="232412" y="109238"/>
                    <a:pt x="237282" y="106527"/>
                  </a:cubicBezTo>
                  <a:cubicBezTo>
                    <a:pt x="242151" y="103816"/>
                    <a:pt x="246318" y="100804"/>
                    <a:pt x="249431" y="97641"/>
                  </a:cubicBezTo>
                  <a:cubicBezTo>
                    <a:pt x="252544" y="94478"/>
                    <a:pt x="254552" y="91365"/>
                    <a:pt x="255757" y="88102"/>
                  </a:cubicBezTo>
                  <a:cubicBezTo>
                    <a:pt x="258317" y="80973"/>
                    <a:pt x="257715" y="73894"/>
                    <a:pt x="253498" y="66664"/>
                  </a:cubicBezTo>
                  <a:cubicBezTo>
                    <a:pt x="249431" y="59535"/>
                    <a:pt x="241599" y="53510"/>
                    <a:pt x="233767" y="51603"/>
                  </a:cubicBezTo>
                  <a:cubicBezTo>
                    <a:pt x="225885" y="49695"/>
                    <a:pt x="218555" y="50900"/>
                    <a:pt x="211225" y="56222"/>
                  </a:cubicBezTo>
                  <a:cubicBezTo>
                    <a:pt x="210321" y="56975"/>
                    <a:pt x="209418" y="57627"/>
                    <a:pt x="208514" y="58431"/>
                  </a:cubicBezTo>
                  <a:lnTo>
                    <a:pt x="205853" y="60991"/>
                  </a:lnTo>
                  <a:lnTo>
                    <a:pt x="203242" y="63903"/>
                  </a:lnTo>
                  <a:lnTo>
                    <a:pt x="201184" y="66664"/>
                  </a:lnTo>
                  <a:cubicBezTo>
                    <a:pt x="198573" y="70480"/>
                    <a:pt x="196816" y="74647"/>
                    <a:pt x="195912" y="78964"/>
                  </a:cubicBezTo>
                  <a:cubicBezTo>
                    <a:pt x="195009" y="83332"/>
                    <a:pt x="194959" y="87901"/>
                    <a:pt x="195712" y="92671"/>
                  </a:cubicBezTo>
                  <a:cubicBezTo>
                    <a:pt x="196615" y="97490"/>
                    <a:pt x="198473" y="102460"/>
                    <a:pt x="200983" y="107481"/>
                  </a:cubicBezTo>
                  <a:cubicBezTo>
                    <a:pt x="206305" y="117522"/>
                    <a:pt x="214890" y="127362"/>
                    <a:pt x="224931" y="136299"/>
                  </a:cubicBezTo>
                  <a:lnTo>
                    <a:pt x="228797" y="139612"/>
                  </a:lnTo>
                  <a:cubicBezTo>
                    <a:pt x="230052" y="140667"/>
                    <a:pt x="231458" y="141972"/>
                    <a:pt x="232462" y="142624"/>
                  </a:cubicBezTo>
                  <a:lnTo>
                    <a:pt x="235675" y="145034"/>
                  </a:lnTo>
                  <a:lnTo>
                    <a:pt x="239089" y="147093"/>
                  </a:lnTo>
                  <a:cubicBezTo>
                    <a:pt x="243758" y="149653"/>
                    <a:pt x="248829" y="151561"/>
                    <a:pt x="254351" y="152766"/>
                  </a:cubicBezTo>
                  <a:cubicBezTo>
                    <a:pt x="265346" y="155377"/>
                    <a:pt x="278198" y="154623"/>
                    <a:pt x="291302" y="152214"/>
                  </a:cubicBezTo>
                  <a:cubicBezTo>
                    <a:pt x="317409" y="146942"/>
                    <a:pt x="344921" y="134341"/>
                    <a:pt x="369070" y="119882"/>
                  </a:cubicBezTo>
                  <a:lnTo>
                    <a:pt x="369823" y="119430"/>
                  </a:lnTo>
                  <a:cubicBezTo>
                    <a:pt x="376801" y="115263"/>
                    <a:pt x="385788" y="117522"/>
                    <a:pt x="389955" y="124500"/>
                  </a:cubicBezTo>
                  <a:cubicBezTo>
                    <a:pt x="393620" y="130676"/>
                    <a:pt x="392264" y="138458"/>
                    <a:pt x="387043" y="143026"/>
                  </a:cubicBezTo>
                  <a:cubicBezTo>
                    <a:pt x="380466" y="148850"/>
                    <a:pt x="374291" y="153519"/>
                    <a:pt x="367614" y="158289"/>
                  </a:cubicBezTo>
                  <a:cubicBezTo>
                    <a:pt x="360986" y="162958"/>
                    <a:pt x="354108" y="167325"/>
                    <a:pt x="347030" y="171442"/>
                  </a:cubicBezTo>
                  <a:cubicBezTo>
                    <a:pt x="332771" y="179525"/>
                    <a:pt x="317559" y="186504"/>
                    <a:pt x="300891" y="191273"/>
                  </a:cubicBezTo>
                  <a:cubicBezTo>
                    <a:pt x="292557" y="193683"/>
                    <a:pt x="283821" y="195340"/>
                    <a:pt x="274785" y="196193"/>
                  </a:cubicBezTo>
                  <a:cubicBezTo>
                    <a:pt x="265748" y="197047"/>
                    <a:pt x="256259" y="197047"/>
                    <a:pt x="246720" y="195440"/>
                  </a:cubicBezTo>
                  <a:cubicBezTo>
                    <a:pt x="237181" y="193884"/>
                    <a:pt x="227592" y="190922"/>
                    <a:pt x="218605" y="186504"/>
                  </a:cubicBezTo>
                  <a:lnTo>
                    <a:pt x="212028" y="182939"/>
                  </a:lnTo>
                  <a:cubicBezTo>
                    <a:pt x="209920" y="181634"/>
                    <a:pt x="207861" y="180228"/>
                    <a:pt x="205803" y="178822"/>
                  </a:cubicBezTo>
                  <a:cubicBezTo>
                    <a:pt x="203594" y="177366"/>
                    <a:pt x="202138" y="176111"/>
                    <a:pt x="200431" y="174756"/>
                  </a:cubicBezTo>
                  <a:lnTo>
                    <a:pt x="195411" y="170739"/>
                  </a:lnTo>
                  <a:cubicBezTo>
                    <a:pt x="182257" y="159694"/>
                    <a:pt x="169605" y="146791"/>
                    <a:pt x="159966" y="130023"/>
                  </a:cubicBezTo>
                  <a:cubicBezTo>
                    <a:pt x="155297" y="121538"/>
                    <a:pt x="151330" y="112250"/>
                    <a:pt x="149121" y="102009"/>
                  </a:cubicBezTo>
                  <a:cubicBezTo>
                    <a:pt x="147013" y="91767"/>
                    <a:pt x="146611" y="80772"/>
                    <a:pt x="148469" y="70078"/>
                  </a:cubicBezTo>
                  <a:cubicBezTo>
                    <a:pt x="150327" y="59334"/>
                    <a:pt x="154343" y="49042"/>
                    <a:pt x="160066" y="39955"/>
                  </a:cubicBezTo>
                  <a:cubicBezTo>
                    <a:pt x="161572" y="37746"/>
                    <a:pt x="163079" y="35537"/>
                    <a:pt x="164685" y="33379"/>
                  </a:cubicBezTo>
                  <a:lnTo>
                    <a:pt x="169555" y="27555"/>
                  </a:lnTo>
                  <a:cubicBezTo>
                    <a:pt x="171262" y="25647"/>
                    <a:pt x="173170" y="23839"/>
                    <a:pt x="174977" y="21982"/>
                  </a:cubicBezTo>
                  <a:cubicBezTo>
                    <a:pt x="176885" y="20175"/>
                    <a:pt x="178993" y="18467"/>
                    <a:pt x="181052" y="16761"/>
                  </a:cubicBezTo>
                  <a:cubicBezTo>
                    <a:pt x="189486" y="10033"/>
                    <a:pt x="199879" y="4711"/>
                    <a:pt x="211074" y="2101"/>
                  </a:cubicBezTo>
                  <a:cubicBezTo>
                    <a:pt x="222270" y="-560"/>
                    <a:pt x="234169" y="-711"/>
                    <a:pt x="245164" y="1749"/>
                  </a:cubicBezTo>
                  <a:cubicBezTo>
                    <a:pt x="267254" y="6619"/>
                    <a:pt x="286081" y="20074"/>
                    <a:pt x="298180" y="38901"/>
                  </a:cubicBezTo>
                  <a:cubicBezTo>
                    <a:pt x="304104" y="48390"/>
                    <a:pt x="308422" y="59334"/>
                    <a:pt x="309878" y="71032"/>
                  </a:cubicBezTo>
                  <a:cubicBezTo>
                    <a:pt x="311384" y="82680"/>
                    <a:pt x="310029" y="94779"/>
                    <a:pt x="306363" y="105623"/>
                  </a:cubicBezTo>
                  <a:cubicBezTo>
                    <a:pt x="302598" y="116869"/>
                    <a:pt x="296021" y="126910"/>
                    <a:pt x="288591" y="134792"/>
                  </a:cubicBezTo>
                  <a:cubicBezTo>
                    <a:pt x="281110" y="142725"/>
                    <a:pt x="272776" y="148800"/>
                    <a:pt x="264342" y="153720"/>
                  </a:cubicBezTo>
                  <a:cubicBezTo>
                    <a:pt x="255907" y="158640"/>
                    <a:pt x="247323" y="162405"/>
                    <a:pt x="238737" y="165367"/>
                  </a:cubicBezTo>
                  <a:cubicBezTo>
                    <a:pt x="230152" y="168430"/>
                    <a:pt x="221567" y="170689"/>
                    <a:pt x="213033" y="172396"/>
                  </a:cubicBezTo>
                  <a:cubicBezTo>
                    <a:pt x="178843" y="179374"/>
                    <a:pt x="145105" y="178822"/>
                    <a:pt x="112120" y="174203"/>
                  </a:cubicBezTo>
                  <a:cubicBezTo>
                    <a:pt x="79186" y="169484"/>
                    <a:pt x="46954" y="160347"/>
                    <a:pt x="16430" y="146289"/>
                  </a:cubicBezTo>
                  <a:cubicBezTo>
                    <a:pt x="2272" y="139763"/>
                    <a:pt x="-3954" y="122944"/>
                    <a:pt x="2623" y="108786"/>
                  </a:cubicBezTo>
                  <a:cubicBezTo>
                    <a:pt x="9150" y="94679"/>
                    <a:pt x="25818" y="88503"/>
                    <a:pt x="39926" y="94880"/>
                  </a:cubicBezTo>
                  <a:lnTo>
                    <a:pt x="40076" y="94880"/>
                  </a:lnTo>
                  <a:close/>
                </a:path>
              </a:pathLst>
            </a:custGeom>
            <a:solidFill>
              <a:srgbClr val="6CC24A">
                <a:lumMod val="75000"/>
              </a:srgbClr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rgbClr val="4C4C4C"/>
                  </a:solidFill>
                  <a:latin typeface="Calibri" panose="020F0502020204030204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rgbClr val="4C4C4C"/>
                  </a:solidFill>
                  <a:latin typeface="Calibri" panose="020F0502020204030204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rgbClr val="4C4C4C"/>
                  </a:solidFill>
                  <a:latin typeface="Calibri" panose="020F0502020204030204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rgbClr val="4C4C4C"/>
                  </a:solidFill>
                  <a:latin typeface="Calibri" panose="020F0502020204030204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rgbClr val="4C4C4C"/>
                  </a:solidFill>
                  <a:latin typeface="Calibri" panose="020F0502020204030204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rgbClr val="4C4C4C"/>
                  </a:solidFill>
                  <a:latin typeface="Calibri" panose="020F0502020204030204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rgbClr val="4C4C4C"/>
                  </a:solidFill>
                  <a:latin typeface="Calibri" panose="020F0502020204030204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rgbClr val="4C4C4C"/>
                  </a:solidFill>
                  <a:latin typeface="Calibri" panose="020F0502020204030204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rgbClr val="4C4C4C"/>
                  </a:solidFill>
                  <a:latin typeface="Calibri" panose="020F0502020204030204"/>
                </a:defRPr>
              </a:lvl9pPr>
            </a:lstStyle>
            <a:p>
              <a:endParaRPr lang="en-GB"/>
            </a:p>
          </p:txBody>
        </p:sp>
        <p:sp>
          <p:nvSpPr>
            <p:cNvPr id="43" name="Freeform: Shape 42">
              <a:extLst>
                <a:ext uri="{FF2B5EF4-FFF2-40B4-BE49-F238E27FC236}">
                  <a16:creationId xmlns:a16="http://schemas.microsoft.com/office/drawing/2014/main" id="{9BCB2847-0E71-B3F4-F0AD-E81325C7AA65}"/>
                </a:ext>
              </a:extLst>
            </p:cNvPr>
            <p:cNvSpPr/>
            <p:nvPr/>
          </p:nvSpPr>
          <p:spPr>
            <a:xfrm>
              <a:off x="10274937" y="5153208"/>
              <a:ext cx="1020543" cy="892541"/>
            </a:xfrm>
            <a:custGeom>
              <a:avLst/>
              <a:gdLst>
                <a:gd name="connsiteX0" fmla="*/ 1617792 w 1878378"/>
                <a:gd name="connsiteY0" fmla="*/ 1410134 h 1642781"/>
                <a:gd name="connsiteX1" fmla="*/ 1609508 w 1878378"/>
                <a:gd name="connsiteY1" fmla="*/ 1594687 h 1642781"/>
                <a:gd name="connsiteX2" fmla="*/ 1538217 w 1878378"/>
                <a:gd name="connsiteY2" fmla="*/ 1642483 h 1642781"/>
                <a:gd name="connsiteX3" fmla="*/ 1469386 w 1878378"/>
                <a:gd name="connsiteY3" fmla="*/ 1585701 h 1642781"/>
                <a:gd name="connsiteX4" fmla="*/ 1454124 w 1878378"/>
                <a:gd name="connsiteY4" fmla="*/ 1458079 h 1642781"/>
                <a:gd name="connsiteX5" fmla="*/ 1411148 w 1878378"/>
                <a:gd name="connsiteY5" fmla="*/ 1445227 h 1642781"/>
                <a:gd name="connsiteX6" fmla="*/ 1412404 w 1878378"/>
                <a:gd name="connsiteY6" fmla="*/ 1561552 h 1642781"/>
                <a:gd name="connsiteX7" fmla="*/ 1334686 w 1878378"/>
                <a:gd name="connsiteY7" fmla="*/ 1617129 h 1642781"/>
                <a:gd name="connsiteX8" fmla="*/ 1256417 w 1878378"/>
                <a:gd name="connsiteY8" fmla="*/ 1553569 h 1642781"/>
                <a:gd name="connsiteX9" fmla="*/ 1201191 w 1878378"/>
                <a:gd name="connsiteY9" fmla="*/ 1380463 h 1642781"/>
                <a:gd name="connsiteX10" fmla="*/ 668617 w 1878378"/>
                <a:gd name="connsiteY10" fmla="*/ 1294361 h 1642781"/>
                <a:gd name="connsiteX11" fmla="*/ 570014 w 1878378"/>
                <a:gd name="connsiteY11" fmla="*/ 1420827 h 1642781"/>
                <a:gd name="connsiteX12" fmla="*/ 461170 w 1878378"/>
                <a:gd name="connsiteY12" fmla="*/ 1492420 h 1642781"/>
                <a:gd name="connsiteX13" fmla="*/ 406095 w 1878378"/>
                <a:gd name="connsiteY13" fmla="*/ 1397783 h 1642781"/>
                <a:gd name="connsiteX14" fmla="*/ 433155 w 1878378"/>
                <a:gd name="connsiteY14" fmla="*/ 1300737 h 1642781"/>
                <a:gd name="connsiteX15" fmla="*/ 387318 w 1878378"/>
                <a:gd name="connsiteY15" fmla="*/ 1291650 h 1642781"/>
                <a:gd name="connsiteX16" fmla="*/ 347204 w 1878378"/>
                <a:gd name="connsiteY16" fmla="*/ 1427956 h 1642781"/>
                <a:gd name="connsiteX17" fmla="*/ 192623 w 1878378"/>
                <a:gd name="connsiteY17" fmla="*/ 1374438 h 1642781"/>
                <a:gd name="connsiteX18" fmla="*/ 235348 w 1878378"/>
                <a:gd name="connsiteY18" fmla="*/ 1224978 h 1642781"/>
                <a:gd name="connsiteX19" fmla="*/ 163555 w 1878378"/>
                <a:gd name="connsiteY19" fmla="*/ 1080036 h 1642781"/>
                <a:gd name="connsiteX20" fmla="*/ 1392 w 1878378"/>
                <a:gd name="connsiteY20" fmla="*/ 834182 h 1642781"/>
                <a:gd name="connsiteX21" fmla="*/ 4807 w 1878378"/>
                <a:gd name="connsiteY21" fmla="*/ 720317 h 1642781"/>
                <a:gd name="connsiteX22" fmla="*/ 14647 w 1878378"/>
                <a:gd name="connsiteY22" fmla="*/ 663937 h 1642781"/>
                <a:gd name="connsiteX23" fmla="*/ 202664 w 1878378"/>
                <a:gd name="connsiteY23" fmla="*/ 414167 h 1642781"/>
                <a:gd name="connsiteX24" fmla="*/ 304329 w 1878378"/>
                <a:gd name="connsiteY24" fmla="*/ 363511 h 1642781"/>
                <a:gd name="connsiteX25" fmla="*/ 460065 w 1878378"/>
                <a:gd name="connsiteY25" fmla="*/ 232074 h 1642781"/>
                <a:gd name="connsiteX26" fmla="*/ 658776 w 1878378"/>
                <a:gd name="connsiteY26" fmla="*/ 277 h 1642781"/>
                <a:gd name="connsiteX27" fmla="*/ 678858 w 1878378"/>
                <a:gd name="connsiteY27" fmla="*/ 28844 h 1642781"/>
                <a:gd name="connsiteX28" fmla="*/ 665403 w 1878378"/>
                <a:gd name="connsiteY28" fmla="*/ 158524 h 1642781"/>
                <a:gd name="connsiteX29" fmla="*/ 688648 w 1878378"/>
                <a:gd name="connsiteY29" fmla="*/ 156214 h 1642781"/>
                <a:gd name="connsiteX30" fmla="*/ 693669 w 1878378"/>
                <a:gd name="connsiteY30" fmla="*/ 120217 h 1642781"/>
                <a:gd name="connsiteX31" fmla="*/ 839966 w 1878378"/>
                <a:gd name="connsiteY31" fmla="*/ 48776 h 1642781"/>
                <a:gd name="connsiteX32" fmla="*/ 889117 w 1878378"/>
                <a:gd name="connsiteY32" fmla="*/ 170271 h 1642781"/>
                <a:gd name="connsiteX33" fmla="*/ 1470390 w 1878378"/>
                <a:gd name="connsiteY33" fmla="*/ 260239 h 1642781"/>
                <a:gd name="connsiteX34" fmla="*/ 1870725 w 1878378"/>
                <a:gd name="connsiteY34" fmla="*/ 711833 h 1642781"/>
                <a:gd name="connsiteX35" fmla="*/ 1872281 w 1878378"/>
                <a:gd name="connsiteY35" fmla="*/ 721070 h 1642781"/>
                <a:gd name="connsiteX36" fmla="*/ 1799233 w 1878378"/>
                <a:gd name="connsiteY36" fmla="*/ 1092888 h 1642781"/>
                <a:gd name="connsiteX37" fmla="*/ 1617792 w 1878378"/>
                <a:gd name="connsiteY37" fmla="*/ 1410134 h 16427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1878378" h="1642781">
                  <a:moveTo>
                    <a:pt x="1617792" y="1410134"/>
                  </a:moveTo>
                  <a:cubicBezTo>
                    <a:pt x="1600471" y="1432826"/>
                    <a:pt x="1611567" y="1572296"/>
                    <a:pt x="1609508" y="1594687"/>
                  </a:cubicBezTo>
                  <a:cubicBezTo>
                    <a:pt x="1607400" y="1617029"/>
                    <a:pt x="1577176" y="1646047"/>
                    <a:pt x="1538217" y="1642483"/>
                  </a:cubicBezTo>
                  <a:cubicBezTo>
                    <a:pt x="1499308" y="1638918"/>
                    <a:pt x="1472147" y="1606184"/>
                    <a:pt x="1469386" y="1585701"/>
                  </a:cubicBezTo>
                  <a:cubicBezTo>
                    <a:pt x="1463964" y="1545637"/>
                    <a:pt x="1466324" y="1499348"/>
                    <a:pt x="1454124" y="1458079"/>
                  </a:cubicBezTo>
                  <a:cubicBezTo>
                    <a:pt x="1441020" y="1413749"/>
                    <a:pt x="1415717" y="1422283"/>
                    <a:pt x="1411148" y="1445227"/>
                  </a:cubicBezTo>
                  <a:cubicBezTo>
                    <a:pt x="1406529" y="1468171"/>
                    <a:pt x="1414261" y="1486747"/>
                    <a:pt x="1412404" y="1561552"/>
                  </a:cubicBezTo>
                  <a:cubicBezTo>
                    <a:pt x="1411299" y="1603724"/>
                    <a:pt x="1379168" y="1621497"/>
                    <a:pt x="1334686" y="1617129"/>
                  </a:cubicBezTo>
                  <a:cubicBezTo>
                    <a:pt x="1304513" y="1614117"/>
                    <a:pt x="1259981" y="1601917"/>
                    <a:pt x="1256417" y="1553569"/>
                  </a:cubicBezTo>
                  <a:cubicBezTo>
                    <a:pt x="1251547" y="1487801"/>
                    <a:pt x="1260784" y="1389500"/>
                    <a:pt x="1201191" y="1380463"/>
                  </a:cubicBezTo>
                  <a:cubicBezTo>
                    <a:pt x="1141598" y="1371426"/>
                    <a:pt x="713249" y="1300637"/>
                    <a:pt x="668617" y="1294361"/>
                  </a:cubicBezTo>
                  <a:cubicBezTo>
                    <a:pt x="627549" y="1288638"/>
                    <a:pt x="592255" y="1371576"/>
                    <a:pt x="570014" y="1420827"/>
                  </a:cubicBezTo>
                  <a:cubicBezTo>
                    <a:pt x="550986" y="1463000"/>
                    <a:pt x="552442" y="1506075"/>
                    <a:pt x="461170" y="1492420"/>
                  </a:cubicBezTo>
                  <a:cubicBezTo>
                    <a:pt x="405593" y="1484086"/>
                    <a:pt x="399669" y="1427906"/>
                    <a:pt x="406095" y="1397783"/>
                  </a:cubicBezTo>
                  <a:cubicBezTo>
                    <a:pt x="412571" y="1367610"/>
                    <a:pt x="427784" y="1317656"/>
                    <a:pt x="433155" y="1300737"/>
                  </a:cubicBezTo>
                  <a:cubicBezTo>
                    <a:pt x="442393" y="1271568"/>
                    <a:pt x="401878" y="1255753"/>
                    <a:pt x="387318" y="1291650"/>
                  </a:cubicBezTo>
                  <a:cubicBezTo>
                    <a:pt x="378281" y="1313891"/>
                    <a:pt x="368391" y="1381467"/>
                    <a:pt x="347204" y="1427956"/>
                  </a:cubicBezTo>
                  <a:cubicBezTo>
                    <a:pt x="321349" y="1484738"/>
                    <a:pt x="178164" y="1457126"/>
                    <a:pt x="192623" y="1374438"/>
                  </a:cubicBezTo>
                  <a:cubicBezTo>
                    <a:pt x="201710" y="1322576"/>
                    <a:pt x="227466" y="1275132"/>
                    <a:pt x="235348" y="1224978"/>
                  </a:cubicBezTo>
                  <a:cubicBezTo>
                    <a:pt x="245439" y="1160665"/>
                    <a:pt x="216320" y="1094294"/>
                    <a:pt x="163555" y="1080036"/>
                  </a:cubicBezTo>
                  <a:cubicBezTo>
                    <a:pt x="59982" y="1059000"/>
                    <a:pt x="10028" y="954473"/>
                    <a:pt x="1392" y="834182"/>
                  </a:cubicBezTo>
                  <a:cubicBezTo>
                    <a:pt x="-1319" y="797081"/>
                    <a:pt x="-13" y="758423"/>
                    <a:pt x="4807" y="720317"/>
                  </a:cubicBezTo>
                  <a:cubicBezTo>
                    <a:pt x="7216" y="701290"/>
                    <a:pt x="10479" y="682412"/>
                    <a:pt x="14647" y="663937"/>
                  </a:cubicBezTo>
                  <a:cubicBezTo>
                    <a:pt x="42862" y="537622"/>
                    <a:pt x="110287" y="428275"/>
                    <a:pt x="202664" y="414167"/>
                  </a:cubicBezTo>
                  <a:cubicBezTo>
                    <a:pt x="240469" y="405934"/>
                    <a:pt x="278825" y="394788"/>
                    <a:pt x="304329" y="363511"/>
                  </a:cubicBezTo>
                  <a:cubicBezTo>
                    <a:pt x="349966" y="311699"/>
                    <a:pt x="402681" y="266766"/>
                    <a:pt x="460065" y="232074"/>
                  </a:cubicBezTo>
                  <a:cubicBezTo>
                    <a:pt x="499426" y="119263"/>
                    <a:pt x="531658" y="-6701"/>
                    <a:pt x="658776" y="277"/>
                  </a:cubicBezTo>
                  <a:cubicBezTo>
                    <a:pt x="673487" y="378"/>
                    <a:pt x="683829" y="14987"/>
                    <a:pt x="678858" y="28844"/>
                  </a:cubicBezTo>
                  <a:cubicBezTo>
                    <a:pt x="664399" y="69309"/>
                    <a:pt x="660885" y="113138"/>
                    <a:pt x="665403" y="158524"/>
                  </a:cubicBezTo>
                  <a:cubicBezTo>
                    <a:pt x="673135" y="157519"/>
                    <a:pt x="680867" y="156766"/>
                    <a:pt x="688648" y="156214"/>
                  </a:cubicBezTo>
                  <a:lnTo>
                    <a:pt x="693669" y="120217"/>
                  </a:lnTo>
                  <a:cubicBezTo>
                    <a:pt x="725649" y="15188"/>
                    <a:pt x="839414" y="-41845"/>
                    <a:pt x="839966" y="48776"/>
                  </a:cubicBezTo>
                  <a:cubicBezTo>
                    <a:pt x="840418" y="123581"/>
                    <a:pt x="853823" y="155662"/>
                    <a:pt x="889117" y="170271"/>
                  </a:cubicBezTo>
                  <a:cubicBezTo>
                    <a:pt x="921901" y="183827"/>
                    <a:pt x="1370131" y="242717"/>
                    <a:pt x="1470390" y="260239"/>
                  </a:cubicBezTo>
                  <a:cubicBezTo>
                    <a:pt x="1678891" y="304419"/>
                    <a:pt x="1835481" y="509958"/>
                    <a:pt x="1870725" y="711833"/>
                  </a:cubicBezTo>
                  <a:cubicBezTo>
                    <a:pt x="1871277" y="714895"/>
                    <a:pt x="1871779" y="718008"/>
                    <a:pt x="1872281" y="721070"/>
                  </a:cubicBezTo>
                  <a:cubicBezTo>
                    <a:pt x="1894070" y="827806"/>
                    <a:pt x="1854609" y="966372"/>
                    <a:pt x="1799233" y="1092888"/>
                  </a:cubicBezTo>
                  <a:cubicBezTo>
                    <a:pt x="1737581" y="1233713"/>
                    <a:pt x="1656249" y="1359678"/>
                    <a:pt x="1617792" y="1410134"/>
                  </a:cubicBezTo>
                  <a:close/>
                </a:path>
              </a:pathLst>
            </a:custGeom>
            <a:gradFill>
              <a:gsLst>
                <a:gs pos="8000">
                  <a:srgbClr val="6CC24A"/>
                </a:gs>
                <a:gs pos="22000">
                  <a:srgbClr val="6CC24A">
                    <a:lumMod val="60000"/>
                    <a:lumOff val="40000"/>
                  </a:srgbClr>
                </a:gs>
                <a:gs pos="52000">
                  <a:srgbClr val="6CC24A">
                    <a:lumMod val="40000"/>
                    <a:lumOff val="60000"/>
                  </a:srgbClr>
                </a:gs>
                <a:gs pos="69000">
                  <a:srgbClr val="6CC24A">
                    <a:lumMod val="20000"/>
                    <a:lumOff val="80000"/>
                  </a:srgbClr>
                </a:gs>
              </a:gsLst>
              <a:lin ang="20787422" scaled="1"/>
            </a:gradFill>
            <a:ln w="0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rgbClr val="4C4C4C"/>
                  </a:solidFill>
                  <a:latin typeface="Calibri" panose="020F0502020204030204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rgbClr val="4C4C4C"/>
                  </a:solidFill>
                  <a:latin typeface="Calibri" panose="020F0502020204030204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rgbClr val="4C4C4C"/>
                  </a:solidFill>
                  <a:latin typeface="Calibri" panose="020F0502020204030204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rgbClr val="4C4C4C"/>
                  </a:solidFill>
                  <a:latin typeface="Calibri" panose="020F0502020204030204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rgbClr val="4C4C4C"/>
                  </a:solidFill>
                  <a:latin typeface="Calibri" panose="020F0502020204030204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rgbClr val="4C4C4C"/>
                  </a:solidFill>
                  <a:latin typeface="Calibri" panose="020F0502020204030204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rgbClr val="4C4C4C"/>
                  </a:solidFill>
                  <a:latin typeface="Calibri" panose="020F0502020204030204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rgbClr val="4C4C4C"/>
                  </a:solidFill>
                  <a:latin typeface="Calibri" panose="020F0502020204030204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rgbClr val="4C4C4C"/>
                  </a:solidFill>
                  <a:latin typeface="Calibri" panose="020F0502020204030204"/>
                </a:defRPr>
              </a:lvl9pPr>
            </a:lstStyle>
            <a:p>
              <a:endParaRPr lang="en-GB"/>
            </a:p>
          </p:txBody>
        </p:sp>
        <p:sp>
          <p:nvSpPr>
            <p:cNvPr id="44" name="Freeform: Shape 43">
              <a:extLst>
                <a:ext uri="{FF2B5EF4-FFF2-40B4-BE49-F238E27FC236}">
                  <a16:creationId xmlns:a16="http://schemas.microsoft.com/office/drawing/2014/main" id="{359B39FF-5522-D413-7C4B-4ABB3CD78E90}"/>
                </a:ext>
              </a:extLst>
            </p:cNvPr>
            <p:cNvSpPr/>
            <p:nvPr/>
          </p:nvSpPr>
          <p:spPr>
            <a:xfrm>
              <a:off x="10785424" y="5268113"/>
              <a:ext cx="277945" cy="62682"/>
            </a:xfrm>
            <a:custGeom>
              <a:avLst/>
              <a:gdLst>
                <a:gd name="connsiteX0" fmla="*/ 275914 w 511576"/>
                <a:gd name="connsiteY0" fmla="*/ 84847 h 115370"/>
                <a:gd name="connsiteX1" fmla="*/ 309351 w 511576"/>
                <a:gd name="connsiteY1" fmla="*/ 89917 h 115370"/>
                <a:gd name="connsiteX2" fmla="*/ 310606 w 511576"/>
                <a:gd name="connsiteY2" fmla="*/ 90118 h 115370"/>
                <a:gd name="connsiteX3" fmla="*/ 363221 w 511576"/>
                <a:gd name="connsiteY3" fmla="*/ 98100 h 115370"/>
                <a:gd name="connsiteX4" fmla="*/ 453339 w 511576"/>
                <a:gd name="connsiteY4" fmla="*/ 111706 h 115370"/>
                <a:gd name="connsiteX5" fmla="*/ 454644 w 511576"/>
                <a:gd name="connsiteY5" fmla="*/ 111907 h 115370"/>
                <a:gd name="connsiteX6" fmla="*/ 475228 w 511576"/>
                <a:gd name="connsiteY6" fmla="*/ 115020 h 115370"/>
                <a:gd name="connsiteX7" fmla="*/ 509317 w 511576"/>
                <a:gd name="connsiteY7" fmla="*/ 89917 h 115370"/>
                <a:gd name="connsiteX8" fmla="*/ 511576 w 511576"/>
                <a:gd name="connsiteY8" fmla="*/ 74856 h 115370"/>
                <a:gd name="connsiteX9" fmla="*/ 475630 w 511576"/>
                <a:gd name="connsiteY9" fmla="*/ 68279 h 115370"/>
                <a:gd name="connsiteX10" fmla="*/ 474374 w 511576"/>
                <a:gd name="connsiteY10" fmla="*/ 68078 h 115370"/>
                <a:gd name="connsiteX11" fmla="*/ 459815 w 511576"/>
                <a:gd name="connsiteY11" fmla="*/ 66271 h 115370"/>
                <a:gd name="connsiteX12" fmla="*/ 377730 w 511576"/>
                <a:gd name="connsiteY12" fmla="*/ 54372 h 115370"/>
                <a:gd name="connsiteX13" fmla="*/ 332194 w 511576"/>
                <a:gd name="connsiteY13" fmla="*/ 47745 h 115370"/>
                <a:gd name="connsiteX14" fmla="*/ 314974 w 511576"/>
                <a:gd name="connsiteY14" fmla="*/ 45285 h 115370"/>
                <a:gd name="connsiteX15" fmla="*/ 280282 w 511576"/>
                <a:gd name="connsiteY15" fmla="*/ 40264 h 115370"/>
                <a:gd name="connsiteX16" fmla="*/ 116363 w 511576"/>
                <a:gd name="connsiteY16" fmla="*/ 16517 h 115370"/>
                <a:gd name="connsiteX17" fmla="*/ 103410 w 511576"/>
                <a:gd name="connsiteY17" fmla="*/ 14610 h 115370"/>
                <a:gd name="connsiteX18" fmla="*/ 2297 w 511576"/>
                <a:gd name="connsiteY18" fmla="*/ 0 h 115370"/>
                <a:gd name="connsiteX19" fmla="*/ 339 w 511576"/>
                <a:gd name="connsiteY19" fmla="*/ 13053 h 115370"/>
                <a:gd name="connsiteX20" fmla="*/ 25441 w 511576"/>
                <a:gd name="connsiteY20" fmla="*/ 47042 h 115370"/>
                <a:gd name="connsiteX21" fmla="*/ 109184 w 511576"/>
                <a:gd name="connsiteY21" fmla="*/ 59694 h 115370"/>
                <a:gd name="connsiteX22" fmla="*/ 124596 w 511576"/>
                <a:gd name="connsiteY22" fmla="*/ 62053 h 115370"/>
                <a:gd name="connsiteX23" fmla="*/ 222396 w 511576"/>
                <a:gd name="connsiteY23" fmla="*/ 76814 h 115370"/>
                <a:gd name="connsiteX24" fmla="*/ 273755 w 511576"/>
                <a:gd name="connsiteY24" fmla="*/ 84595 h 115370"/>
                <a:gd name="connsiteX25" fmla="*/ 275914 w 511576"/>
                <a:gd name="connsiteY25" fmla="*/ 84947 h 1153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511576" h="115370">
                  <a:moveTo>
                    <a:pt x="275914" y="84847"/>
                  </a:moveTo>
                  <a:lnTo>
                    <a:pt x="309351" y="89917"/>
                  </a:lnTo>
                  <a:lnTo>
                    <a:pt x="310606" y="90118"/>
                  </a:lnTo>
                  <a:lnTo>
                    <a:pt x="363221" y="98100"/>
                  </a:lnTo>
                  <a:lnTo>
                    <a:pt x="453339" y="111706"/>
                  </a:lnTo>
                  <a:lnTo>
                    <a:pt x="454644" y="111907"/>
                  </a:lnTo>
                  <a:lnTo>
                    <a:pt x="475228" y="115020"/>
                  </a:lnTo>
                  <a:cubicBezTo>
                    <a:pt x="491595" y="117530"/>
                    <a:pt x="506807" y="106284"/>
                    <a:pt x="509317" y="89917"/>
                  </a:cubicBezTo>
                  <a:lnTo>
                    <a:pt x="511576" y="74856"/>
                  </a:lnTo>
                  <a:cubicBezTo>
                    <a:pt x="499728" y="72245"/>
                    <a:pt x="487779" y="70036"/>
                    <a:pt x="475630" y="68279"/>
                  </a:cubicBezTo>
                  <a:cubicBezTo>
                    <a:pt x="475178" y="68229"/>
                    <a:pt x="474776" y="68128"/>
                    <a:pt x="474374" y="68078"/>
                  </a:cubicBezTo>
                  <a:cubicBezTo>
                    <a:pt x="469555" y="67375"/>
                    <a:pt x="464685" y="66773"/>
                    <a:pt x="459815" y="66271"/>
                  </a:cubicBezTo>
                  <a:lnTo>
                    <a:pt x="377730" y="54372"/>
                  </a:lnTo>
                  <a:lnTo>
                    <a:pt x="332194" y="47745"/>
                  </a:lnTo>
                  <a:lnTo>
                    <a:pt x="314974" y="45285"/>
                  </a:lnTo>
                  <a:lnTo>
                    <a:pt x="280282" y="40264"/>
                  </a:lnTo>
                  <a:lnTo>
                    <a:pt x="116363" y="16517"/>
                  </a:lnTo>
                  <a:lnTo>
                    <a:pt x="103410" y="14610"/>
                  </a:lnTo>
                  <a:lnTo>
                    <a:pt x="2297" y="0"/>
                  </a:lnTo>
                  <a:lnTo>
                    <a:pt x="339" y="13053"/>
                  </a:lnTo>
                  <a:cubicBezTo>
                    <a:pt x="-2121" y="29320"/>
                    <a:pt x="9075" y="44632"/>
                    <a:pt x="25441" y="47042"/>
                  </a:cubicBezTo>
                  <a:lnTo>
                    <a:pt x="109184" y="59694"/>
                  </a:lnTo>
                  <a:lnTo>
                    <a:pt x="124596" y="62053"/>
                  </a:lnTo>
                  <a:lnTo>
                    <a:pt x="222396" y="76814"/>
                  </a:lnTo>
                  <a:lnTo>
                    <a:pt x="273755" y="84595"/>
                  </a:lnTo>
                  <a:lnTo>
                    <a:pt x="275914" y="84947"/>
                  </a:lnTo>
                  <a:close/>
                </a:path>
              </a:pathLst>
            </a:custGeom>
            <a:solidFill>
              <a:srgbClr val="6CC24A">
                <a:lumMod val="75000"/>
              </a:srgbClr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rgbClr val="4C4C4C"/>
                  </a:solidFill>
                  <a:latin typeface="Calibri" panose="020F0502020204030204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rgbClr val="4C4C4C"/>
                  </a:solidFill>
                  <a:latin typeface="Calibri" panose="020F0502020204030204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rgbClr val="4C4C4C"/>
                  </a:solidFill>
                  <a:latin typeface="Calibri" panose="020F0502020204030204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rgbClr val="4C4C4C"/>
                  </a:solidFill>
                  <a:latin typeface="Calibri" panose="020F0502020204030204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rgbClr val="4C4C4C"/>
                  </a:solidFill>
                  <a:latin typeface="Calibri" panose="020F0502020204030204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rgbClr val="4C4C4C"/>
                  </a:solidFill>
                  <a:latin typeface="Calibri" panose="020F0502020204030204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rgbClr val="4C4C4C"/>
                  </a:solidFill>
                  <a:latin typeface="Calibri" panose="020F0502020204030204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rgbClr val="4C4C4C"/>
                  </a:solidFill>
                  <a:latin typeface="Calibri" panose="020F0502020204030204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rgbClr val="4C4C4C"/>
                  </a:solidFill>
                  <a:latin typeface="Calibri" panose="020F0502020204030204"/>
                </a:defRPr>
              </a:lvl9pPr>
            </a:lstStyle>
            <a:p>
              <a:endParaRPr lang="en-GB"/>
            </a:p>
          </p:txBody>
        </p:sp>
        <p:sp>
          <p:nvSpPr>
            <p:cNvPr id="45" name="Freeform: Shape 44">
              <a:extLst>
                <a:ext uri="{FF2B5EF4-FFF2-40B4-BE49-F238E27FC236}">
                  <a16:creationId xmlns:a16="http://schemas.microsoft.com/office/drawing/2014/main" id="{D7046083-685F-3953-A34F-E2F7AA8FDB61}"/>
                </a:ext>
              </a:extLst>
            </p:cNvPr>
            <p:cNvSpPr/>
            <p:nvPr/>
          </p:nvSpPr>
          <p:spPr>
            <a:xfrm>
              <a:off x="10306307" y="5520650"/>
              <a:ext cx="26821" cy="57784"/>
            </a:xfrm>
            <a:custGeom>
              <a:avLst/>
              <a:gdLst>
                <a:gd name="connsiteX0" fmla="*/ 936 w 49366"/>
                <a:gd name="connsiteY0" fmla="*/ 50191 h 106355"/>
                <a:gd name="connsiteX1" fmla="*/ 31360 w 49366"/>
                <a:gd name="connsiteY1" fmla="*/ 86 h 106355"/>
                <a:gd name="connsiteX2" fmla="*/ 48430 w 49366"/>
                <a:gd name="connsiteY2" fmla="*/ 56165 h 106355"/>
                <a:gd name="connsiteX3" fmla="*/ 18006 w 49366"/>
                <a:gd name="connsiteY3" fmla="*/ 106270 h 106355"/>
                <a:gd name="connsiteX4" fmla="*/ 936 w 49366"/>
                <a:gd name="connsiteY4" fmla="*/ 50191 h 1063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9366" h="106355">
                  <a:moveTo>
                    <a:pt x="936" y="50191"/>
                  </a:moveTo>
                  <a:cubicBezTo>
                    <a:pt x="4651" y="20871"/>
                    <a:pt x="18257" y="-1570"/>
                    <a:pt x="31360" y="86"/>
                  </a:cubicBezTo>
                  <a:cubicBezTo>
                    <a:pt x="44464" y="1743"/>
                    <a:pt x="52145" y="26845"/>
                    <a:pt x="48430" y="56165"/>
                  </a:cubicBezTo>
                  <a:cubicBezTo>
                    <a:pt x="44715" y="85485"/>
                    <a:pt x="31109" y="107927"/>
                    <a:pt x="18006" y="106270"/>
                  </a:cubicBezTo>
                  <a:cubicBezTo>
                    <a:pt x="4902" y="104613"/>
                    <a:pt x="-2779" y="79510"/>
                    <a:pt x="936" y="50191"/>
                  </a:cubicBezTo>
                  <a:close/>
                </a:path>
              </a:pathLst>
            </a:custGeom>
            <a:solidFill>
              <a:srgbClr val="6CC24A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rgbClr val="4C4C4C"/>
                  </a:solidFill>
                  <a:latin typeface="Calibri" panose="020F0502020204030204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rgbClr val="4C4C4C"/>
                  </a:solidFill>
                  <a:latin typeface="Calibri" panose="020F0502020204030204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rgbClr val="4C4C4C"/>
                  </a:solidFill>
                  <a:latin typeface="Calibri" panose="020F0502020204030204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rgbClr val="4C4C4C"/>
                  </a:solidFill>
                  <a:latin typeface="Calibri" panose="020F0502020204030204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rgbClr val="4C4C4C"/>
                  </a:solidFill>
                  <a:latin typeface="Calibri" panose="020F0502020204030204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rgbClr val="4C4C4C"/>
                  </a:solidFill>
                  <a:latin typeface="Calibri" panose="020F0502020204030204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rgbClr val="4C4C4C"/>
                  </a:solidFill>
                  <a:latin typeface="Calibri" panose="020F0502020204030204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rgbClr val="4C4C4C"/>
                  </a:solidFill>
                  <a:latin typeface="Calibri" panose="020F0502020204030204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rgbClr val="4C4C4C"/>
                  </a:solidFill>
                  <a:latin typeface="Calibri" panose="020F0502020204030204"/>
                </a:defRPr>
              </a:lvl9pPr>
            </a:lstStyle>
            <a:p>
              <a:endParaRPr lang="en-GB"/>
            </a:p>
          </p:txBody>
        </p:sp>
        <p:sp>
          <p:nvSpPr>
            <p:cNvPr id="46" name="Freeform: Shape 45">
              <a:extLst>
                <a:ext uri="{FF2B5EF4-FFF2-40B4-BE49-F238E27FC236}">
                  <a16:creationId xmlns:a16="http://schemas.microsoft.com/office/drawing/2014/main" id="{1808088D-B97C-F9BE-1717-90E96B82F112}"/>
                </a:ext>
              </a:extLst>
            </p:cNvPr>
            <p:cNvSpPr/>
            <p:nvPr/>
          </p:nvSpPr>
          <p:spPr>
            <a:xfrm>
              <a:off x="10275802" y="5511978"/>
              <a:ext cx="22577" cy="57783"/>
            </a:xfrm>
            <a:custGeom>
              <a:avLst/>
              <a:gdLst>
                <a:gd name="connsiteX0" fmla="*/ 40566 w 41555"/>
                <a:gd name="connsiteY0" fmla="*/ 56212 h 106353"/>
                <a:gd name="connsiteX1" fmla="*/ 10141 w 41555"/>
                <a:gd name="connsiteY1" fmla="*/ 106267 h 106353"/>
                <a:gd name="connsiteX2" fmla="*/ 0 w 41555"/>
                <a:gd name="connsiteY2" fmla="*/ 98987 h 106353"/>
                <a:gd name="connsiteX3" fmla="*/ 2661 w 41555"/>
                <a:gd name="connsiteY3" fmla="*/ 65500 h 106353"/>
                <a:gd name="connsiteX4" fmla="*/ 2912 w 41555"/>
                <a:gd name="connsiteY4" fmla="*/ 63593 h 106353"/>
                <a:gd name="connsiteX5" fmla="*/ 3062 w 41555"/>
                <a:gd name="connsiteY5" fmla="*/ 61986 h 106353"/>
                <a:gd name="connsiteX6" fmla="*/ 11346 w 41555"/>
                <a:gd name="connsiteY6" fmla="*/ 10425 h 106353"/>
                <a:gd name="connsiteX7" fmla="*/ 12752 w 41555"/>
                <a:gd name="connsiteY7" fmla="*/ 3899 h 106353"/>
                <a:gd name="connsiteX8" fmla="*/ 23596 w 41555"/>
                <a:gd name="connsiteY8" fmla="*/ 83 h 106353"/>
                <a:gd name="connsiteX9" fmla="*/ 40616 w 41555"/>
                <a:gd name="connsiteY9" fmla="*/ 56162 h 1063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1555" h="106353">
                  <a:moveTo>
                    <a:pt x="40566" y="56212"/>
                  </a:moveTo>
                  <a:cubicBezTo>
                    <a:pt x="36850" y="85532"/>
                    <a:pt x="23245" y="107924"/>
                    <a:pt x="10141" y="106267"/>
                  </a:cubicBezTo>
                  <a:cubicBezTo>
                    <a:pt x="6225" y="105765"/>
                    <a:pt x="2761" y="103154"/>
                    <a:pt x="0" y="98987"/>
                  </a:cubicBezTo>
                  <a:cubicBezTo>
                    <a:pt x="552" y="87942"/>
                    <a:pt x="1456" y="76746"/>
                    <a:pt x="2661" y="65500"/>
                  </a:cubicBezTo>
                  <a:cubicBezTo>
                    <a:pt x="2711" y="64848"/>
                    <a:pt x="2811" y="64245"/>
                    <a:pt x="2912" y="63593"/>
                  </a:cubicBezTo>
                  <a:cubicBezTo>
                    <a:pt x="2962" y="63040"/>
                    <a:pt x="3012" y="62538"/>
                    <a:pt x="3062" y="61986"/>
                  </a:cubicBezTo>
                  <a:cubicBezTo>
                    <a:pt x="4970" y="44364"/>
                    <a:pt x="7782" y="27144"/>
                    <a:pt x="11346" y="10425"/>
                  </a:cubicBezTo>
                  <a:cubicBezTo>
                    <a:pt x="11798" y="8267"/>
                    <a:pt x="12250" y="6058"/>
                    <a:pt x="12752" y="3899"/>
                  </a:cubicBezTo>
                  <a:cubicBezTo>
                    <a:pt x="16266" y="1037"/>
                    <a:pt x="19931" y="-369"/>
                    <a:pt x="23596" y="83"/>
                  </a:cubicBezTo>
                  <a:cubicBezTo>
                    <a:pt x="36700" y="1740"/>
                    <a:pt x="44331" y="26842"/>
                    <a:pt x="40616" y="56162"/>
                  </a:cubicBezTo>
                  <a:close/>
                </a:path>
              </a:pathLst>
            </a:custGeom>
            <a:solidFill>
              <a:srgbClr val="6CC24A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rgbClr val="4C4C4C"/>
                  </a:solidFill>
                  <a:latin typeface="Calibri" panose="020F0502020204030204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rgbClr val="4C4C4C"/>
                  </a:solidFill>
                  <a:latin typeface="Calibri" panose="020F0502020204030204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rgbClr val="4C4C4C"/>
                  </a:solidFill>
                  <a:latin typeface="Calibri" panose="020F0502020204030204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rgbClr val="4C4C4C"/>
                  </a:solidFill>
                  <a:latin typeface="Calibri" panose="020F0502020204030204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rgbClr val="4C4C4C"/>
                  </a:solidFill>
                  <a:latin typeface="Calibri" panose="020F0502020204030204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rgbClr val="4C4C4C"/>
                  </a:solidFill>
                  <a:latin typeface="Calibri" panose="020F0502020204030204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rgbClr val="4C4C4C"/>
                  </a:solidFill>
                  <a:latin typeface="Calibri" panose="020F0502020204030204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rgbClr val="4C4C4C"/>
                  </a:solidFill>
                  <a:latin typeface="Calibri" panose="020F0502020204030204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rgbClr val="4C4C4C"/>
                  </a:solidFill>
                  <a:latin typeface="Calibri" panose="020F0502020204030204"/>
                </a:defRPr>
              </a:lvl9pPr>
            </a:lstStyle>
            <a:p>
              <a:endParaRPr lang="en-GB"/>
            </a:p>
          </p:txBody>
        </p:sp>
        <p:sp>
          <p:nvSpPr>
            <p:cNvPr id="47" name="Freeform: Shape 46">
              <a:extLst>
                <a:ext uri="{FF2B5EF4-FFF2-40B4-BE49-F238E27FC236}">
                  <a16:creationId xmlns:a16="http://schemas.microsoft.com/office/drawing/2014/main" id="{2F766243-EAC4-3623-6E39-C356A6AA5C30}"/>
                </a:ext>
              </a:extLst>
            </p:cNvPr>
            <p:cNvSpPr/>
            <p:nvPr/>
          </p:nvSpPr>
          <p:spPr>
            <a:xfrm>
              <a:off x="10442117" y="5300070"/>
              <a:ext cx="113074" cy="94250"/>
            </a:xfrm>
            <a:custGeom>
              <a:avLst/>
              <a:gdLst>
                <a:gd name="connsiteX0" fmla="*/ 163404 w 208120"/>
                <a:gd name="connsiteY0" fmla="*/ 7500 h 173474"/>
                <a:gd name="connsiteX1" fmla="*/ 841 w 208120"/>
                <a:gd name="connsiteY1" fmla="*/ 161881 h 173474"/>
                <a:gd name="connsiteX2" fmla="*/ 36486 w 208120"/>
                <a:gd name="connsiteY2" fmla="*/ 167052 h 173474"/>
                <a:gd name="connsiteX3" fmla="*/ 208087 w 208120"/>
                <a:gd name="connsiteY3" fmla="*/ 69152 h 173474"/>
                <a:gd name="connsiteX4" fmla="*/ 163404 w 208120"/>
                <a:gd name="connsiteY4" fmla="*/ 7500 h 1734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08120" h="173474">
                  <a:moveTo>
                    <a:pt x="163404" y="7500"/>
                  </a:moveTo>
                  <a:cubicBezTo>
                    <a:pt x="23232" y="77185"/>
                    <a:pt x="841" y="161881"/>
                    <a:pt x="841" y="161881"/>
                  </a:cubicBezTo>
                  <a:cubicBezTo>
                    <a:pt x="841" y="161881"/>
                    <a:pt x="-8698" y="184071"/>
                    <a:pt x="36486" y="167052"/>
                  </a:cubicBezTo>
                  <a:cubicBezTo>
                    <a:pt x="81671" y="150032"/>
                    <a:pt x="210496" y="104898"/>
                    <a:pt x="208087" y="69152"/>
                  </a:cubicBezTo>
                  <a:cubicBezTo>
                    <a:pt x="205627" y="33406"/>
                    <a:pt x="218228" y="-19761"/>
                    <a:pt x="163404" y="7500"/>
                  </a:cubicBezTo>
                  <a:close/>
                </a:path>
              </a:pathLst>
            </a:custGeom>
            <a:solidFill>
              <a:srgbClr val="6CC24A">
                <a:alpha val="47000"/>
              </a:srgbClr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rgbClr val="4C4C4C"/>
                  </a:solidFill>
                  <a:latin typeface="Calibri" panose="020F0502020204030204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rgbClr val="4C4C4C"/>
                  </a:solidFill>
                  <a:latin typeface="Calibri" panose="020F0502020204030204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rgbClr val="4C4C4C"/>
                  </a:solidFill>
                  <a:latin typeface="Calibri" panose="020F0502020204030204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rgbClr val="4C4C4C"/>
                  </a:solidFill>
                  <a:latin typeface="Calibri" panose="020F0502020204030204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rgbClr val="4C4C4C"/>
                  </a:solidFill>
                  <a:latin typeface="Calibri" panose="020F0502020204030204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rgbClr val="4C4C4C"/>
                  </a:solidFill>
                  <a:latin typeface="Calibri" panose="020F0502020204030204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rgbClr val="4C4C4C"/>
                  </a:solidFill>
                  <a:latin typeface="Calibri" panose="020F0502020204030204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rgbClr val="4C4C4C"/>
                  </a:solidFill>
                  <a:latin typeface="Calibri" panose="020F0502020204030204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rgbClr val="4C4C4C"/>
                  </a:solidFill>
                  <a:latin typeface="Calibri" panose="020F0502020204030204"/>
                </a:defRPr>
              </a:lvl9pPr>
            </a:lstStyle>
            <a:p>
              <a:endParaRPr lang="en-GB"/>
            </a:p>
          </p:txBody>
        </p:sp>
        <p:sp>
          <p:nvSpPr>
            <p:cNvPr id="48" name="Freeform: Shape 47">
              <a:extLst>
                <a:ext uri="{FF2B5EF4-FFF2-40B4-BE49-F238E27FC236}">
                  <a16:creationId xmlns:a16="http://schemas.microsoft.com/office/drawing/2014/main" id="{88D57C74-43AC-3F5A-4CE7-682DEE435920}"/>
                </a:ext>
              </a:extLst>
            </p:cNvPr>
            <p:cNvSpPr/>
            <p:nvPr/>
          </p:nvSpPr>
          <p:spPr>
            <a:xfrm>
              <a:off x="11128261" y="5433711"/>
              <a:ext cx="75044" cy="157469"/>
            </a:xfrm>
            <a:custGeom>
              <a:avLst/>
              <a:gdLst>
                <a:gd name="connsiteX0" fmla="*/ 0 w 138123"/>
                <a:gd name="connsiteY0" fmla="*/ 0 h 289833"/>
                <a:gd name="connsiteX1" fmla="*/ 136457 w 138123"/>
                <a:gd name="connsiteY1" fmla="*/ 289833 h 2898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38123" h="289833">
                  <a:moveTo>
                    <a:pt x="0" y="0"/>
                  </a:moveTo>
                  <a:cubicBezTo>
                    <a:pt x="92428" y="57435"/>
                    <a:pt x="148707" y="156388"/>
                    <a:pt x="136457" y="289833"/>
                  </a:cubicBezTo>
                </a:path>
              </a:pathLst>
            </a:custGeom>
            <a:noFill/>
            <a:ln w="12700" cap="rnd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rgbClr val="4C4C4C"/>
                  </a:solidFill>
                  <a:latin typeface="Calibri" panose="020F0502020204030204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rgbClr val="4C4C4C"/>
                  </a:solidFill>
                  <a:latin typeface="Calibri" panose="020F0502020204030204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rgbClr val="4C4C4C"/>
                  </a:solidFill>
                  <a:latin typeface="Calibri" panose="020F0502020204030204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rgbClr val="4C4C4C"/>
                  </a:solidFill>
                  <a:latin typeface="Calibri" panose="020F0502020204030204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rgbClr val="4C4C4C"/>
                  </a:solidFill>
                  <a:latin typeface="Calibri" panose="020F0502020204030204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rgbClr val="4C4C4C"/>
                  </a:solidFill>
                  <a:latin typeface="Calibri" panose="020F0502020204030204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rgbClr val="4C4C4C"/>
                  </a:solidFill>
                  <a:latin typeface="Calibri" panose="020F0502020204030204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rgbClr val="4C4C4C"/>
                  </a:solidFill>
                  <a:latin typeface="Calibri" panose="020F0502020204030204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rgbClr val="4C4C4C"/>
                  </a:solidFill>
                  <a:latin typeface="Calibri" panose="020F0502020204030204"/>
                </a:defRPr>
              </a:lvl9pPr>
            </a:lstStyle>
            <a:p>
              <a:endParaRPr lang="en-GB"/>
            </a:p>
          </p:txBody>
        </p:sp>
        <p:sp>
          <p:nvSpPr>
            <p:cNvPr id="49" name="Freeform: Shape 48">
              <a:extLst>
                <a:ext uri="{FF2B5EF4-FFF2-40B4-BE49-F238E27FC236}">
                  <a16:creationId xmlns:a16="http://schemas.microsoft.com/office/drawing/2014/main" id="{7F4341FD-FFC7-11D4-C4DA-A22BF691BDD3}"/>
                </a:ext>
              </a:extLst>
            </p:cNvPr>
            <p:cNvSpPr/>
            <p:nvPr/>
          </p:nvSpPr>
          <p:spPr>
            <a:xfrm>
              <a:off x="10275693" y="5606428"/>
              <a:ext cx="976759" cy="439321"/>
            </a:xfrm>
            <a:custGeom>
              <a:avLst/>
              <a:gdLst>
                <a:gd name="connsiteX0" fmla="*/ 1608116 w 1797790"/>
                <a:gd name="connsiteY0" fmla="*/ 760505 h 808599"/>
                <a:gd name="connsiteX1" fmla="*/ 1536825 w 1797790"/>
                <a:gd name="connsiteY1" fmla="*/ 808300 h 808599"/>
                <a:gd name="connsiteX2" fmla="*/ 1467994 w 1797790"/>
                <a:gd name="connsiteY2" fmla="*/ 751518 h 808599"/>
                <a:gd name="connsiteX3" fmla="*/ 1452732 w 1797790"/>
                <a:gd name="connsiteY3" fmla="*/ 623897 h 808599"/>
                <a:gd name="connsiteX4" fmla="*/ 1409756 w 1797790"/>
                <a:gd name="connsiteY4" fmla="*/ 611045 h 808599"/>
                <a:gd name="connsiteX5" fmla="*/ 1411011 w 1797790"/>
                <a:gd name="connsiteY5" fmla="*/ 727370 h 808599"/>
                <a:gd name="connsiteX6" fmla="*/ 1333294 w 1797790"/>
                <a:gd name="connsiteY6" fmla="*/ 782946 h 808599"/>
                <a:gd name="connsiteX7" fmla="*/ 1255024 w 1797790"/>
                <a:gd name="connsiteY7" fmla="*/ 719387 h 808599"/>
                <a:gd name="connsiteX8" fmla="*/ 1199799 w 1797790"/>
                <a:gd name="connsiteY8" fmla="*/ 546280 h 808599"/>
                <a:gd name="connsiteX9" fmla="*/ 667224 w 1797790"/>
                <a:gd name="connsiteY9" fmla="*/ 460179 h 808599"/>
                <a:gd name="connsiteX10" fmla="*/ 568622 w 1797790"/>
                <a:gd name="connsiteY10" fmla="*/ 586645 h 808599"/>
                <a:gd name="connsiteX11" fmla="*/ 459777 w 1797790"/>
                <a:gd name="connsiteY11" fmla="*/ 658237 h 808599"/>
                <a:gd name="connsiteX12" fmla="*/ 404703 w 1797790"/>
                <a:gd name="connsiteY12" fmla="*/ 563601 h 808599"/>
                <a:gd name="connsiteX13" fmla="*/ 431763 w 1797790"/>
                <a:gd name="connsiteY13" fmla="*/ 466555 h 808599"/>
                <a:gd name="connsiteX14" fmla="*/ 385926 w 1797790"/>
                <a:gd name="connsiteY14" fmla="*/ 457468 h 808599"/>
                <a:gd name="connsiteX15" fmla="*/ 345812 w 1797790"/>
                <a:gd name="connsiteY15" fmla="*/ 593774 h 808599"/>
                <a:gd name="connsiteX16" fmla="*/ 191231 w 1797790"/>
                <a:gd name="connsiteY16" fmla="*/ 540256 h 808599"/>
                <a:gd name="connsiteX17" fmla="*/ 233955 w 1797790"/>
                <a:gd name="connsiteY17" fmla="*/ 390795 h 808599"/>
                <a:gd name="connsiteX18" fmla="*/ 162162 w 1797790"/>
                <a:gd name="connsiteY18" fmla="*/ 245854 h 808599"/>
                <a:gd name="connsiteX19" fmla="*/ 0 w 1797790"/>
                <a:gd name="connsiteY19" fmla="*/ 0 h 808599"/>
                <a:gd name="connsiteX20" fmla="*/ 1797790 w 1797790"/>
                <a:gd name="connsiteY20" fmla="*/ 258656 h 808599"/>
                <a:gd name="connsiteX21" fmla="*/ 1616349 w 1797790"/>
                <a:gd name="connsiteY21" fmla="*/ 575901 h 808599"/>
                <a:gd name="connsiteX22" fmla="*/ 1608066 w 1797790"/>
                <a:gd name="connsiteY22" fmla="*/ 760455 h 8085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797790" h="808599">
                  <a:moveTo>
                    <a:pt x="1608116" y="760505"/>
                  </a:moveTo>
                  <a:cubicBezTo>
                    <a:pt x="1606007" y="782846"/>
                    <a:pt x="1575784" y="811865"/>
                    <a:pt x="1536825" y="808300"/>
                  </a:cubicBezTo>
                  <a:cubicBezTo>
                    <a:pt x="1497916" y="804736"/>
                    <a:pt x="1470755" y="772002"/>
                    <a:pt x="1467994" y="751518"/>
                  </a:cubicBezTo>
                  <a:cubicBezTo>
                    <a:pt x="1462572" y="711455"/>
                    <a:pt x="1464931" y="665166"/>
                    <a:pt x="1452732" y="623897"/>
                  </a:cubicBezTo>
                  <a:cubicBezTo>
                    <a:pt x="1439628" y="579566"/>
                    <a:pt x="1414325" y="588101"/>
                    <a:pt x="1409756" y="611045"/>
                  </a:cubicBezTo>
                  <a:cubicBezTo>
                    <a:pt x="1405137" y="633988"/>
                    <a:pt x="1412869" y="652564"/>
                    <a:pt x="1411011" y="727370"/>
                  </a:cubicBezTo>
                  <a:cubicBezTo>
                    <a:pt x="1409907" y="769542"/>
                    <a:pt x="1377776" y="787314"/>
                    <a:pt x="1333294" y="782946"/>
                  </a:cubicBezTo>
                  <a:cubicBezTo>
                    <a:pt x="1303121" y="779934"/>
                    <a:pt x="1258589" y="767734"/>
                    <a:pt x="1255024" y="719387"/>
                  </a:cubicBezTo>
                  <a:cubicBezTo>
                    <a:pt x="1250154" y="653619"/>
                    <a:pt x="1259392" y="555317"/>
                    <a:pt x="1199799" y="546280"/>
                  </a:cubicBezTo>
                  <a:cubicBezTo>
                    <a:pt x="1140206" y="537243"/>
                    <a:pt x="711857" y="466454"/>
                    <a:pt x="667224" y="460179"/>
                  </a:cubicBezTo>
                  <a:cubicBezTo>
                    <a:pt x="626157" y="454455"/>
                    <a:pt x="590862" y="537394"/>
                    <a:pt x="568622" y="586645"/>
                  </a:cubicBezTo>
                  <a:cubicBezTo>
                    <a:pt x="549594" y="628817"/>
                    <a:pt x="551050" y="671893"/>
                    <a:pt x="459777" y="658237"/>
                  </a:cubicBezTo>
                  <a:cubicBezTo>
                    <a:pt x="404200" y="649903"/>
                    <a:pt x="398276" y="593724"/>
                    <a:pt x="404703" y="563601"/>
                  </a:cubicBezTo>
                  <a:cubicBezTo>
                    <a:pt x="411179" y="533428"/>
                    <a:pt x="426391" y="483474"/>
                    <a:pt x="431763" y="466555"/>
                  </a:cubicBezTo>
                  <a:cubicBezTo>
                    <a:pt x="441001" y="437386"/>
                    <a:pt x="400485" y="421571"/>
                    <a:pt x="385926" y="457468"/>
                  </a:cubicBezTo>
                  <a:cubicBezTo>
                    <a:pt x="376889" y="479709"/>
                    <a:pt x="366999" y="547284"/>
                    <a:pt x="345812" y="593774"/>
                  </a:cubicBezTo>
                  <a:cubicBezTo>
                    <a:pt x="319957" y="650556"/>
                    <a:pt x="176772" y="622943"/>
                    <a:pt x="191231" y="540256"/>
                  </a:cubicBezTo>
                  <a:cubicBezTo>
                    <a:pt x="200318" y="488394"/>
                    <a:pt x="226073" y="440950"/>
                    <a:pt x="233955" y="390795"/>
                  </a:cubicBezTo>
                  <a:cubicBezTo>
                    <a:pt x="244047" y="326483"/>
                    <a:pt x="214928" y="260112"/>
                    <a:pt x="162162" y="245854"/>
                  </a:cubicBezTo>
                  <a:cubicBezTo>
                    <a:pt x="58589" y="224818"/>
                    <a:pt x="8635" y="120291"/>
                    <a:pt x="0" y="0"/>
                  </a:cubicBezTo>
                  <a:cubicBezTo>
                    <a:pt x="387181" y="331855"/>
                    <a:pt x="1330733" y="517563"/>
                    <a:pt x="1797790" y="258656"/>
                  </a:cubicBezTo>
                  <a:cubicBezTo>
                    <a:pt x="1736138" y="399481"/>
                    <a:pt x="1654807" y="525445"/>
                    <a:pt x="1616349" y="575901"/>
                  </a:cubicBezTo>
                  <a:cubicBezTo>
                    <a:pt x="1599029" y="598594"/>
                    <a:pt x="1610124" y="738063"/>
                    <a:pt x="1608066" y="760455"/>
                  </a:cubicBezTo>
                  <a:close/>
                </a:path>
              </a:pathLst>
            </a:custGeom>
            <a:solidFill>
              <a:srgbClr val="6CC24A">
                <a:alpha val="34000"/>
              </a:srgbClr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rgbClr val="4C4C4C"/>
                  </a:solidFill>
                  <a:latin typeface="Calibri" panose="020F0502020204030204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rgbClr val="4C4C4C"/>
                  </a:solidFill>
                  <a:latin typeface="Calibri" panose="020F0502020204030204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rgbClr val="4C4C4C"/>
                  </a:solidFill>
                  <a:latin typeface="Calibri" panose="020F0502020204030204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rgbClr val="4C4C4C"/>
                  </a:solidFill>
                  <a:latin typeface="Calibri" panose="020F0502020204030204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rgbClr val="4C4C4C"/>
                  </a:solidFill>
                  <a:latin typeface="Calibri" panose="020F0502020204030204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rgbClr val="4C4C4C"/>
                  </a:solidFill>
                  <a:latin typeface="Calibri" panose="020F0502020204030204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rgbClr val="4C4C4C"/>
                  </a:solidFill>
                  <a:latin typeface="Calibri" panose="020F0502020204030204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rgbClr val="4C4C4C"/>
                  </a:solidFill>
                  <a:latin typeface="Calibri" panose="020F0502020204030204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rgbClr val="4C4C4C"/>
                  </a:solidFill>
                  <a:latin typeface="Calibri" panose="020F0502020204030204"/>
                </a:defRPr>
              </a:lvl9pPr>
            </a:lstStyle>
            <a:p>
              <a:endParaRPr lang="en-GB"/>
            </a:p>
          </p:txBody>
        </p:sp>
      </p:grpSp>
      <p:grpSp>
        <p:nvGrpSpPr>
          <p:cNvPr id="1190" name="Group 1189">
            <a:extLst>
              <a:ext uri="{FF2B5EF4-FFF2-40B4-BE49-F238E27FC236}">
                <a16:creationId xmlns:a16="http://schemas.microsoft.com/office/drawing/2014/main" id="{54F5B221-51AB-B520-8C14-9C7E8163B66E}"/>
              </a:ext>
            </a:extLst>
          </p:cNvPr>
          <p:cNvGrpSpPr/>
          <p:nvPr/>
        </p:nvGrpSpPr>
        <p:grpSpPr>
          <a:xfrm>
            <a:off x="3429000" y="3751580"/>
            <a:ext cx="1123390" cy="1006098"/>
            <a:chOff x="3422790" y="3765518"/>
            <a:chExt cx="1088249" cy="974626"/>
          </a:xfrm>
        </p:grpSpPr>
        <p:sp>
          <p:nvSpPr>
            <p:cNvPr id="1150" name="Freeform: Shape 1149">
              <a:extLst>
                <a:ext uri="{FF2B5EF4-FFF2-40B4-BE49-F238E27FC236}">
                  <a16:creationId xmlns:a16="http://schemas.microsoft.com/office/drawing/2014/main" id="{A3BD0E8D-5238-C7D3-643B-BE31E092FE01}"/>
                </a:ext>
              </a:extLst>
            </p:cNvPr>
            <p:cNvSpPr/>
            <p:nvPr/>
          </p:nvSpPr>
          <p:spPr>
            <a:xfrm>
              <a:off x="3823966" y="4205380"/>
              <a:ext cx="392921" cy="503761"/>
            </a:xfrm>
            <a:custGeom>
              <a:avLst/>
              <a:gdLst>
                <a:gd name="connsiteX0" fmla="*/ 380938 w 801933"/>
                <a:gd name="connsiteY0" fmla="*/ 1028154 h 1028154"/>
                <a:gd name="connsiteX1" fmla="*/ 400407 w 801933"/>
                <a:gd name="connsiteY1" fmla="*/ 850499 h 1028154"/>
                <a:gd name="connsiteX2" fmla="*/ 461248 w 801933"/>
                <a:gd name="connsiteY2" fmla="*/ 339434 h 1028154"/>
                <a:gd name="connsiteX3" fmla="*/ 61012 w 801933"/>
                <a:gd name="connsiteY3" fmla="*/ 72756 h 1028154"/>
                <a:gd name="connsiteX4" fmla="*/ 0 w 801933"/>
                <a:gd name="connsiteY4" fmla="*/ 16733 h 1028154"/>
                <a:gd name="connsiteX5" fmla="*/ 736225 w 801933"/>
                <a:gd name="connsiteY5" fmla="*/ 324832 h 1028154"/>
                <a:gd name="connsiteX6" fmla="*/ 801933 w 801933"/>
                <a:gd name="connsiteY6" fmla="*/ 850499 h 1028154"/>
                <a:gd name="connsiteX7" fmla="*/ 380914 w 801933"/>
                <a:gd name="connsiteY7" fmla="*/ 1028154 h 10281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01933" h="1028154">
                  <a:moveTo>
                    <a:pt x="380938" y="1028154"/>
                  </a:moveTo>
                  <a:cubicBezTo>
                    <a:pt x="406078" y="969139"/>
                    <a:pt x="329563" y="944608"/>
                    <a:pt x="400407" y="850499"/>
                  </a:cubicBezTo>
                  <a:cubicBezTo>
                    <a:pt x="556160" y="643639"/>
                    <a:pt x="359035" y="514656"/>
                    <a:pt x="461248" y="339434"/>
                  </a:cubicBezTo>
                  <a:cubicBezTo>
                    <a:pt x="514934" y="247394"/>
                    <a:pt x="402841" y="13326"/>
                    <a:pt x="61012" y="72756"/>
                  </a:cubicBezTo>
                  <a:lnTo>
                    <a:pt x="0" y="16733"/>
                  </a:lnTo>
                  <a:cubicBezTo>
                    <a:pt x="403205" y="-51871"/>
                    <a:pt x="689426" y="98260"/>
                    <a:pt x="736225" y="324832"/>
                  </a:cubicBezTo>
                  <a:cubicBezTo>
                    <a:pt x="771610" y="496209"/>
                    <a:pt x="660782" y="592533"/>
                    <a:pt x="801933" y="850499"/>
                  </a:cubicBezTo>
                  <a:lnTo>
                    <a:pt x="380914" y="1028154"/>
                  </a:lnTo>
                  <a:close/>
                </a:path>
              </a:pathLst>
            </a:custGeom>
            <a:solidFill>
              <a:schemeClr val="accent4">
                <a:lumMod val="20000"/>
                <a:lumOff val="80000"/>
              </a:schemeClr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grpSp>
          <p:nvGrpSpPr>
            <p:cNvPr id="1189" name="Group 1188">
              <a:extLst>
                <a:ext uri="{FF2B5EF4-FFF2-40B4-BE49-F238E27FC236}">
                  <a16:creationId xmlns:a16="http://schemas.microsoft.com/office/drawing/2014/main" id="{F496B8AB-4165-11D1-2013-326E065CE10D}"/>
                </a:ext>
              </a:extLst>
            </p:cNvPr>
            <p:cNvGrpSpPr/>
            <p:nvPr/>
          </p:nvGrpSpPr>
          <p:grpSpPr>
            <a:xfrm>
              <a:off x="3422790" y="3972890"/>
              <a:ext cx="439118" cy="347581"/>
              <a:chOff x="3422790" y="3972890"/>
              <a:chExt cx="439118" cy="347581"/>
            </a:xfrm>
          </p:grpSpPr>
          <p:sp>
            <p:nvSpPr>
              <p:cNvPr id="1154" name="Freeform: Shape 1153">
                <a:extLst>
                  <a:ext uri="{FF2B5EF4-FFF2-40B4-BE49-F238E27FC236}">
                    <a16:creationId xmlns:a16="http://schemas.microsoft.com/office/drawing/2014/main" id="{DF8FF408-BFC9-C088-1458-83088A8D8815}"/>
                  </a:ext>
                </a:extLst>
              </p:cNvPr>
              <p:cNvSpPr/>
              <p:nvPr/>
            </p:nvSpPr>
            <p:spPr>
              <a:xfrm>
                <a:off x="3422790" y="3972890"/>
                <a:ext cx="186343" cy="186297"/>
              </a:xfrm>
              <a:custGeom>
                <a:avLst/>
                <a:gdLst>
                  <a:gd name="connsiteX0" fmla="*/ 171506 w 380318"/>
                  <a:gd name="connsiteY0" fmla="*/ 379337 h 380223"/>
                  <a:gd name="connsiteX1" fmla="*/ 61530 w 380318"/>
                  <a:gd name="connsiteY1" fmla="*/ 330104 h 380223"/>
                  <a:gd name="connsiteX2" fmla="*/ 177 w 380318"/>
                  <a:gd name="connsiteY2" fmla="*/ 198128 h 380223"/>
                  <a:gd name="connsiteX3" fmla="*/ 50116 w 380318"/>
                  <a:gd name="connsiteY3" fmla="*/ 61430 h 380223"/>
                  <a:gd name="connsiteX4" fmla="*/ 50116 w 380318"/>
                  <a:gd name="connsiteY4" fmla="*/ 61430 h 380223"/>
                  <a:gd name="connsiteX5" fmla="*/ 318790 w 380318"/>
                  <a:gd name="connsiteY5" fmla="*/ 50017 h 380223"/>
                  <a:gd name="connsiteX6" fmla="*/ 380142 w 380318"/>
                  <a:gd name="connsiteY6" fmla="*/ 181993 h 380223"/>
                  <a:gd name="connsiteX7" fmla="*/ 330203 w 380318"/>
                  <a:gd name="connsiteY7" fmla="*/ 318691 h 380223"/>
                  <a:gd name="connsiteX8" fmla="*/ 198227 w 380318"/>
                  <a:gd name="connsiteY8" fmla="*/ 380043 h 380223"/>
                  <a:gd name="connsiteX9" fmla="*/ 171506 w 380318"/>
                  <a:gd name="connsiteY9" fmla="*/ 379337 h 380223"/>
                  <a:gd name="connsiteX10" fmla="*/ 56906 w 380318"/>
                  <a:gd name="connsiteY10" fmla="*/ 67661 h 380223"/>
                  <a:gd name="connsiteX11" fmla="*/ 67760 w 380318"/>
                  <a:gd name="connsiteY11" fmla="*/ 323339 h 380223"/>
                  <a:gd name="connsiteX12" fmla="*/ 197838 w 380318"/>
                  <a:gd name="connsiteY12" fmla="*/ 370868 h 380223"/>
                  <a:gd name="connsiteX13" fmla="*/ 323414 w 380318"/>
                  <a:gd name="connsiteY13" fmla="*/ 312485 h 380223"/>
                  <a:gd name="connsiteX14" fmla="*/ 370942 w 380318"/>
                  <a:gd name="connsiteY14" fmla="*/ 182407 h 380223"/>
                  <a:gd name="connsiteX15" fmla="*/ 312559 w 380318"/>
                  <a:gd name="connsiteY15" fmla="*/ 56831 h 380223"/>
                  <a:gd name="connsiteX16" fmla="*/ 56881 w 380318"/>
                  <a:gd name="connsiteY16" fmla="*/ 67685 h 380223"/>
                  <a:gd name="connsiteX17" fmla="*/ 56881 w 380318"/>
                  <a:gd name="connsiteY17" fmla="*/ 67685 h 3802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380318" h="380223">
                    <a:moveTo>
                      <a:pt x="171506" y="379337"/>
                    </a:moveTo>
                    <a:cubicBezTo>
                      <a:pt x="130620" y="375394"/>
                      <a:pt x="92315" y="358383"/>
                      <a:pt x="61530" y="330104"/>
                    </a:cubicBezTo>
                    <a:cubicBezTo>
                      <a:pt x="24125" y="295741"/>
                      <a:pt x="2343" y="248870"/>
                      <a:pt x="177" y="198128"/>
                    </a:cubicBezTo>
                    <a:cubicBezTo>
                      <a:pt x="-1989" y="147387"/>
                      <a:pt x="15753" y="98836"/>
                      <a:pt x="50116" y="61430"/>
                    </a:cubicBezTo>
                    <a:lnTo>
                      <a:pt x="50116" y="61430"/>
                    </a:lnTo>
                    <a:cubicBezTo>
                      <a:pt x="121032" y="-15789"/>
                      <a:pt x="241570" y="-20900"/>
                      <a:pt x="318790" y="50017"/>
                    </a:cubicBezTo>
                    <a:cubicBezTo>
                      <a:pt x="356195" y="84380"/>
                      <a:pt x="377976" y="131252"/>
                      <a:pt x="380142" y="181993"/>
                    </a:cubicBezTo>
                    <a:cubicBezTo>
                      <a:pt x="382308" y="232734"/>
                      <a:pt x="364566" y="281286"/>
                      <a:pt x="330203" y="318691"/>
                    </a:cubicBezTo>
                    <a:cubicBezTo>
                      <a:pt x="295840" y="356096"/>
                      <a:pt x="248968" y="377877"/>
                      <a:pt x="198227" y="380043"/>
                    </a:cubicBezTo>
                    <a:cubicBezTo>
                      <a:pt x="189247" y="380432"/>
                      <a:pt x="180315" y="380189"/>
                      <a:pt x="171506" y="379337"/>
                    </a:cubicBezTo>
                    <a:close/>
                    <a:moveTo>
                      <a:pt x="56906" y="67661"/>
                    </a:moveTo>
                    <a:cubicBezTo>
                      <a:pt x="-10579" y="141132"/>
                      <a:pt x="-5712" y="255830"/>
                      <a:pt x="67760" y="323339"/>
                    </a:cubicBezTo>
                    <a:cubicBezTo>
                      <a:pt x="103364" y="356047"/>
                      <a:pt x="149554" y="372912"/>
                      <a:pt x="197838" y="370868"/>
                    </a:cubicBezTo>
                    <a:cubicBezTo>
                      <a:pt x="246121" y="368824"/>
                      <a:pt x="290730" y="348089"/>
                      <a:pt x="323414" y="312485"/>
                    </a:cubicBezTo>
                    <a:cubicBezTo>
                      <a:pt x="356122" y="276881"/>
                      <a:pt x="372987" y="230690"/>
                      <a:pt x="370942" y="182407"/>
                    </a:cubicBezTo>
                    <a:cubicBezTo>
                      <a:pt x="368898" y="134123"/>
                      <a:pt x="348164" y="89515"/>
                      <a:pt x="312559" y="56831"/>
                    </a:cubicBezTo>
                    <a:cubicBezTo>
                      <a:pt x="239088" y="-10654"/>
                      <a:pt x="124390" y="-5787"/>
                      <a:pt x="56881" y="67685"/>
                    </a:cubicBezTo>
                    <a:lnTo>
                      <a:pt x="56881" y="67685"/>
                    </a:lnTo>
                    <a:close/>
                  </a:path>
                </a:pathLst>
              </a:custGeom>
              <a:solidFill>
                <a:schemeClr val="accent4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1155" name="Freeform: Shape 1154">
                <a:extLst>
                  <a:ext uri="{FF2B5EF4-FFF2-40B4-BE49-F238E27FC236}">
                    <a16:creationId xmlns:a16="http://schemas.microsoft.com/office/drawing/2014/main" id="{0F9C6A78-07E1-7417-BAEC-5EE6B7E967FC}"/>
                  </a:ext>
                </a:extLst>
              </p:cNvPr>
              <p:cNvSpPr/>
              <p:nvPr/>
            </p:nvSpPr>
            <p:spPr>
              <a:xfrm>
                <a:off x="3524386" y="4202645"/>
                <a:ext cx="337522" cy="105861"/>
              </a:xfrm>
              <a:custGeom>
                <a:avLst/>
                <a:gdLst>
                  <a:gd name="connsiteX0" fmla="*/ 24 w 688866"/>
                  <a:gd name="connsiteY0" fmla="*/ 61790 h 216058"/>
                  <a:gd name="connsiteX1" fmla="*/ 147576 w 688866"/>
                  <a:gd name="connsiteY1" fmla="*/ 213747 h 216058"/>
                  <a:gd name="connsiteX2" fmla="*/ 149815 w 688866"/>
                  <a:gd name="connsiteY2" fmla="*/ 216059 h 216058"/>
                  <a:gd name="connsiteX3" fmla="*/ 275975 w 688866"/>
                  <a:gd name="connsiteY3" fmla="*/ 181720 h 216058"/>
                  <a:gd name="connsiteX4" fmla="*/ 276024 w 688866"/>
                  <a:gd name="connsiteY4" fmla="*/ 181720 h 216058"/>
                  <a:gd name="connsiteX5" fmla="*/ 276024 w 688866"/>
                  <a:gd name="connsiteY5" fmla="*/ 181696 h 216058"/>
                  <a:gd name="connsiteX6" fmla="*/ 688867 w 688866"/>
                  <a:gd name="connsiteY6" fmla="*/ 73301 h 216058"/>
                  <a:gd name="connsiteX7" fmla="*/ 617561 w 688866"/>
                  <a:gd name="connsiteY7" fmla="*/ 0 h 216058"/>
                  <a:gd name="connsiteX8" fmla="*/ 344823 w 688866"/>
                  <a:gd name="connsiteY8" fmla="*/ 26429 h 216058"/>
                  <a:gd name="connsiteX9" fmla="*/ 0 w 688866"/>
                  <a:gd name="connsiteY9" fmla="*/ 61790 h 2160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688866" h="216058">
                    <a:moveTo>
                      <a:pt x="24" y="61790"/>
                    </a:moveTo>
                    <a:lnTo>
                      <a:pt x="147576" y="213747"/>
                    </a:lnTo>
                    <a:lnTo>
                      <a:pt x="149815" y="216059"/>
                    </a:lnTo>
                    <a:lnTo>
                      <a:pt x="275975" y="181720"/>
                    </a:lnTo>
                    <a:lnTo>
                      <a:pt x="276024" y="181720"/>
                    </a:lnTo>
                    <a:cubicBezTo>
                      <a:pt x="276024" y="181720"/>
                      <a:pt x="276024" y="181696"/>
                      <a:pt x="276024" y="181696"/>
                    </a:cubicBezTo>
                    <a:lnTo>
                      <a:pt x="688867" y="73301"/>
                    </a:lnTo>
                    <a:lnTo>
                      <a:pt x="617561" y="0"/>
                    </a:lnTo>
                    <a:lnTo>
                      <a:pt x="344823" y="26429"/>
                    </a:lnTo>
                    <a:lnTo>
                      <a:pt x="0" y="61790"/>
                    </a:lnTo>
                    <a:close/>
                  </a:path>
                </a:pathLst>
              </a:custGeom>
              <a:solidFill>
                <a:schemeClr val="accent4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1156" name="Freeform: Shape 1155">
                <a:extLst>
                  <a:ext uri="{FF2B5EF4-FFF2-40B4-BE49-F238E27FC236}">
                    <a16:creationId xmlns:a16="http://schemas.microsoft.com/office/drawing/2014/main" id="{B097E0DD-4424-C801-65CF-8853E6A10E7A}"/>
                  </a:ext>
                </a:extLst>
              </p:cNvPr>
              <p:cNvSpPr/>
              <p:nvPr/>
            </p:nvSpPr>
            <p:spPr>
              <a:xfrm>
                <a:off x="3596706" y="4211588"/>
                <a:ext cx="97729" cy="96918"/>
              </a:xfrm>
              <a:custGeom>
                <a:avLst/>
                <a:gdLst>
                  <a:gd name="connsiteX0" fmla="*/ 0 w 199461"/>
                  <a:gd name="connsiteY0" fmla="*/ 195494 h 197806"/>
                  <a:gd name="connsiteX1" fmla="*/ 2239 w 199461"/>
                  <a:gd name="connsiteY1" fmla="*/ 197806 h 197806"/>
                  <a:gd name="connsiteX2" fmla="*/ 128399 w 199461"/>
                  <a:gd name="connsiteY2" fmla="*/ 163468 h 197806"/>
                  <a:gd name="connsiteX3" fmla="*/ 128448 w 199461"/>
                  <a:gd name="connsiteY3" fmla="*/ 163468 h 197806"/>
                  <a:gd name="connsiteX4" fmla="*/ 128448 w 199461"/>
                  <a:gd name="connsiteY4" fmla="*/ 163443 h 197806"/>
                  <a:gd name="connsiteX5" fmla="*/ 199461 w 199461"/>
                  <a:gd name="connsiteY5" fmla="*/ 0 h 197806"/>
                  <a:gd name="connsiteX6" fmla="*/ 0 w 199461"/>
                  <a:gd name="connsiteY6" fmla="*/ 195494 h 1978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99461" h="197806">
                    <a:moveTo>
                      <a:pt x="0" y="195494"/>
                    </a:moveTo>
                    <a:lnTo>
                      <a:pt x="2239" y="197806"/>
                    </a:lnTo>
                    <a:lnTo>
                      <a:pt x="128399" y="163468"/>
                    </a:lnTo>
                    <a:lnTo>
                      <a:pt x="128448" y="163468"/>
                    </a:lnTo>
                    <a:cubicBezTo>
                      <a:pt x="128448" y="163468"/>
                      <a:pt x="128448" y="163443"/>
                      <a:pt x="128448" y="163443"/>
                    </a:cubicBezTo>
                    <a:lnTo>
                      <a:pt x="199461" y="0"/>
                    </a:lnTo>
                    <a:cubicBezTo>
                      <a:pt x="199461" y="0"/>
                      <a:pt x="77560" y="121779"/>
                      <a:pt x="0" y="195494"/>
                    </a:cubicBezTo>
                    <a:close/>
                  </a:path>
                </a:pathLst>
              </a:custGeom>
              <a:solidFill>
                <a:schemeClr val="tx2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1157" name="Freeform: Shape 1156">
                <a:extLst>
                  <a:ext uri="{FF2B5EF4-FFF2-40B4-BE49-F238E27FC236}">
                    <a16:creationId xmlns:a16="http://schemas.microsoft.com/office/drawing/2014/main" id="{7682EC42-0C82-4D29-2E84-FC5434EBE9F8}"/>
                  </a:ext>
                </a:extLst>
              </p:cNvPr>
              <p:cNvSpPr/>
              <p:nvPr/>
            </p:nvSpPr>
            <p:spPr>
              <a:xfrm>
                <a:off x="3426747" y="3996764"/>
                <a:ext cx="322669" cy="323707"/>
              </a:xfrm>
              <a:custGeom>
                <a:avLst/>
                <a:gdLst>
                  <a:gd name="connsiteX0" fmla="*/ 27486 w 658553"/>
                  <a:gd name="connsiteY0" fmla="*/ 432434 h 660670"/>
                  <a:gd name="connsiteX1" fmla="*/ 251576 w 658553"/>
                  <a:gd name="connsiteY1" fmla="*/ 638271 h 660670"/>
                  <a:gd name="connsiteX2" fmla="*/ 371652 w 658553"/>
                  <a:gd name="connsiteY2" fmla="*/ 633160 h 660670"/>
                  <a:gd name="connsiteX3" fmla="*/ 658553 w 658553"/>
                  <a:gd name="connsiteY3" fmla="*/ 320803 h 660670"/>
                  <a:gd name="connsiteX4" fmla="*/ 309302 w 658553"/>
                  <a:gd name="connsiteY4" fmla="*/ 0 h 660670"/>
                  <a:gd name="connsiteX5" fmla="*/ 22400 w 658553"/>
                  <a:gd name="connsiteY5" fmla="*/ 312358 h 660670"/>
                  <a:gd name="connsiteX6" fmla="*/ 27511 w 658553"/>
                  <a:gd name="connsiteY6" fmla="*/ 432434 h 6606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58553" h="660670">
                    <a:moveTo>
                      <a:pt x="27486" y="432434"/>
                    </a:moveTo>
                    <a:lnTo>
                      <a:pt x="251576" y="638271"/>
                    </a:lnTo>
                    <a:cubicBezTo>
                      <a:pt x="286134" y="670030"/>
                      <a:pt x="339893" y="667742"/>
                      <a:pt x="371652" y="633160"/>
                    </a:cubicBezTo>
                    <a:lnTo>
                      <a:pt x="658553" y="320803"/>
                    </a:lnTo>
                    <a:lnTo>
                      <a:pt x="309302" y="0"/>
                    </a:lnTo>
                    <a:lnTo>
                      <a:pt x="22400" y="312358"/>
                    </a:lnTo>
                    <a:cubicBezTo>
                      <a:pt x="-9359" y="346916"/>
                      <a:pt x="-7071" y="400675"/>
                      <a:pt x="27511" y="432434"/>
                    </a:cubicBezTo>
                    <a:close/>
                  </a:path>
                </a:pathLst>
              </a:custGeom>
              <a:solidFill>
                <a:schemeClr val="accent4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</p:grpSp>
        <p:sp>
          <p:nvSpPr>
            <p:cNvPr id="1163" name="Freeform: Shape 1162">
              <a:extLst>
                <a:ext uri="{FF2B5EF4-FFF2-40B4-BE49-F238E27FC236}">
                  <a16:creationId xmlns:a16="http://schemas.microsoft.com/office/drawing/2014/main" id="{FBAB6205-5F09-6244-5ABE-779408B602C4}"/>
                </a:ext>
              </a:extLst>
            </p:cNvPr>
            <p:cNvSpPr/>
            <p:nvPr/>
          </p:nvSpPr>
          <p:spPr>
            <a:xfrm>
              <a:off x="3993919" y="4559724"/>
              <a:ext cx="434929" cy="180420"/>
            </a:xfrm>
            <a:custGeom>
              <a:avLst/>
              <a:gdLst>
                <a:gd name="connsiteX0" fmla="*/ 0 w 887670"/>
                <a:gd name="connsiteY0" fmla="*/ 368230 h 368230"/>
                <a:gd name="connsiteX1" fmla="*/ 887671 w 887670"/>
                <a:gd name="connsiteY1" fmla="*/ 368230 h 368230"/>
                <a:gd name="connsiteX2" fmla="*/ 875113 w 887670"/>
                <a:gd name="connsiteY2" fmla="*/ 359031 h 368230"/>
                <a:gd name="connsiteX3" fmla="*/ 806484 w 887670"/>
                <a:gd name="connsiteY3" fmla="*/ 274657 h 368230"/>
                <a:gd name="connsiteX4" fmla="*/ 658300 w 887670"/>
                <a:gd name="connsiteY4" fmla="*/ 97171 h 368230"/>
                <a:gd name="connsiteX5" fmla="*/ 608362 w 887670"/>
                <a:gd name="connsiteY5" fmla="*/ 46016 h 368230"/>
                <a:gd name="connsiteX6" fmla="*/ 489868 w 887670"/>
                <a:gd name="connsiteY6" fmla="*/ 21266 h 368230"/>
                <a:gd name="connsiteX7" fmla="*/ 347913 w 887670"/>
                <a:gd name="connsiteY7" fmla="*/ 10071 h 368230"/>
                <a:gd name="connsiteX8" fmla="*/ 322506 w 887670"/>
                <a:gd name="connsiteY8" fmla="*/ 27764 h 368230"/>
                <a:gd name="connsiteX9" fmla="*/ 312772 w 887670"/>
                <a:gd name="connsiteY9" fmla="*/ 39883 h 368230"/>
                <a:gd name="connsiteX10" fmla="*/ 183278 w 887670"/>
                <a:gd name="connsiteY10" fmla="*/ 127494 h 368230"/>
                <a:gd name="connsiteX11" fmla="*/ 164539 w 887670"/>
                <a:gd name="connsiteY11" fmla="*/ 155140 h 368230"/>
                <a:gd name="connsiteX12" fmla="*/ 40788 w 887670"/>
                <a:gd name="connsiteY12" fmla="*/ 281057 h 368230"/>
                <a:gd name="connsiteX13" fmla="*/ 6157 w 887670"/>
                <a:gd name="connsiteY13" fmla="*/ 359031 h 368230"/>
                <a:gd name="connsiteX14" fmla="*/ 0 w 887670"/>
                <a:gd name="connsiteY14" fmla="*/ 368230 h 3682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887670" h="368230">
                  <a:moveTo>
                    <a:pt x="0" y="368230"/>
                  </a:moveTo>
                  <a:lnTo>
                    <a:pt x="887671" y="368230"/>
                  </a:lnTo>
                  <a:cubicBezTo>
                    <a:pt x="883752" y="364604"/>
                    <a:pt x="879566" y="361805"/>
                    <a:pt x="875113" y="359031"/>
                  </a:cubicBezTo>
                  <a:cubicBezTo>
                    <a:pt x="857299" y="347885"/>
                    <a:pt x="835056" y="336958"/>
                    <a:pt x="806484" y="274657"/>
                  </a:cubicBezTo>
                  <a:cubicBezTo>
                    <a:pt x="737125" y="123333"/>
                    <a:pt x="737125" y="214108"/>
                    <a:pt x="658300" y="97171"/>
                  </a:cubicBezTo>
                  <a:cubicBezTo>
                    <a:pt x="641459" y="72202"/>
                    <a:pt x="624667" y="56213"/>
                    <a:pt x="608362" y="46016"/>
                  </a:cubicBezTo>
                  <a:cubicBezTo>
                    <a:pt x="562195" y="17056"/>
                    <a:pt x="519729" y="33824"/>
                    <a:pt x="489868" y="21266"/>
                  </a:cubicBezTo>
                  <a:cubicBezTo>
                    <a:pt x="426788" y="-5236"/>
                    <a:pt x="379477" y="-4531"/>
                    <a:pt x="347913" y="10071"/>
                  </a:cubicBezTo>
                  <a:cubicBezTo>
                    <a:pt x="337838" y="14719"/>
                    <a:pt x="329418" y="20731"/>
                    <a:pt x="322506" y="27764"/>
                  </a:cubicBezTo>
                  <a:cubicBezTo>
                    <a:pt x="318783" y="31536"/>
                    <a:pt x="315619" y="35649"/>
                    <a:pt x="312772" y="39883"/>
                  </a:cubicBezTo>
                  <a:cubicBezTo>
                    <a:pt x="280137" y="90016"/>
                    <a:pt x="250081" y="37474"/>
                    <a:pt x="183278" y="127494"/>
                  </a:cubicBezTo>
                  <a:cubicBezTo>
                    <a:pt x="177315" y="135501"/>
                    <a:pt x="171061" y="144651"/>
                    <a:pt x="164539" y="155140"/>
                  </a:cubicBezTo>
                  <a:cubicBezTo>
                    <a:pt x="133291" y="204811"/>
                    <a:pt x="77366" y="159034"/>
                    <a:pt x="40788" y="281057"/>
                  </a:cubicBezTo>
                  <a:cubicBezTo>
                    <a:pt x="31808" y="310967"/>
                    <a:pt x="17546" y="340681"/>
                    <a:pt x="6157" y="359031"/>
                  </a:cubicBezTo>
                  <a:cubicBezTo>
                    <a:pt x="3967" y="362535"/>
                    <a:pt x="1898" y="365650"/>
                    <a:pt x="0" y="368230"/>
                  </a:cubicBezTo>
                  <a:close/>
                </a:path>
              </a:pathLst>
            </a:custGeom>
            <a:solidFill>
              <a:schemeClr val="tx2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grpSp>
          <p:nvGrpSpPr>
            <p:cNvPr id="1164" name="Graphic 1147">
              <a:extLst>
                <a:ext uri="{FF2B5EF4-FFF2-40B4-BE49-F238E27FC236}">
                  <a16:creationId xmlns:a16="http://schemas.microsoft.com/office/drawing/2014/main" id="{14847D1B-CF1B-C631-9F36-BAE9E2FAB262}"/>
                </a:ext>
              </a:extLst>
            </p:cNvPr>
            <p:cNvGrpSpPr/>
            <p:nvPr/>
          </p:nvGrpSpPr>
          <p:grpSpPr>
            <a:xfrm>
              <a:off x="3820039" y="3765518"/>
              <a:ext cx="691000" cy="879584"/>
              <a:chOff x="7428459" y="2509833"/>
              <a:chExt cx="1410299" cy="1795192"/>
            </a:xfrm>
          </p:grpSpPr>
          <p:sp>
            <p:nvSpPr>
              <p:cNvPr id="1165" name="Freeform: Shape 1164">
                <a:extLst>
                  <a:ext uri="{FF2B5EF4-FFF2-40B4-BE49-F238E27FC236}">
                    <a16:creationId xmlns:a16="http://schemas.microsoft.com/office/drawing/2014/main" id="{7BEF17FF-6EB8-220A-1EEA-F210AC0C0C72}"/>
                  </a:ext>
                </a:extLst>
              </p:cNvPr>
              <p:cNvSpPr/>
              <p:nvPr/>
            </p:nvSpPr>
            <p:spPr>
              <a:xfrm>
                <a:off x="7991671" y="2884975"/>
                <a:ext cx="128811" cy="1420050"/>
              </a:xfrm>
              <a:custGeom>
                <a:avLst/>
                <a:gdLst>
                  <a:gd name="connsiteX0" fmla="*/ 3396 w 128811"/>
                  <a:gd name="connsiteY0" fmla="*/ 1414467 h 1420050"/>
                  <a:gd name="connsiteX1" fmla="*/ 19774 w 128811"/>
                  <a:gd name="connsiteY1" fmla="*/ 894228 h 1420050"/>
                  <a:gd name="connsiteX2" fmla="*/ 14591 w 128811"/>
                  <a:gd name="connsiteY2" fmla="*/ 835358 h 1420050"/>
                  <a:gd name="connsiteX3" fmla="*/ 11962 w 128811"/>
                  <a:gd name="connsiteY3" fmla="*/ 805376 h 1420050"/>
                  <a:gd name="connsiteX4" fmla="*/ 10599 w 128811"/>
                  <a:gd name="connsiteY4" fmla="*/ 775004 h 1420050"/>
                  <a:gd name="connsiteX5" fmla="*/ 8068 w 128811"/>
                  <a:gd name="connsiteY5" fmla="*/ 713603 h 1420050"/>
                  <a:gd name="connsiteX6" fmla="*/ 8263 w 128811"/>
                  <a:gd name="connsiteY6" fmla="*/ 651667 h 1420050"/>
                  <a:gd name="connsiteX7" fmla="*/ 10088 w 128811"/>
                  <a:gd name="connsiteY7" fmla="*/ 589804 h 1420050"/>
                  <a:gd name="connsiteX8" fmla="*/ 11524 w 128811"/>
                  <a:gd name="connsiteY8" fmla="*/ 559067 h 1420050"/>
                  <a:gd name="connsiteX9" fmla="*/ 13568 w 128811"/>
                  <a:gd name="connsiteY9" fmla="*/ 528549 h 1420050"/>
                  <a:gd name="connsiteX10" fmla="*/ 18874 w 128811"/>
                  <a:gd name="connsiteY10" fmla="*/ 468414 h 1420050"/>
                  <a:gd name="connsiteX11" fmla="*/ 26126 w 128811"/>
                  <a:gd name="connsiteY11" fmla="*/ 409958 h 1420050"/>
                  <a:gd name="connsiteX12" fmla="*/ 34522 w 128811"/>
                  <a:gd name="connsiteY12" fmla="*/ 353668 h 1420050"/>
                  <a:gd name="connsiteX13" fmla="*/ 43819 w 128811"/>
                  <a:gd name="connsiteY13" fmla="*/ 299982 h 1420050"/>
                  <a:gd name="connsiteX14" fmla="*/ 53821 w 128811"/>
                  <a:gd name="connsiteY14" fmla="*/ 249386 h 1420050"/>
                  <a:gd name="connsiteX15" fmla="*/ 64432 w 128811"/>
                  <a:gd name="connsiteY15" fmla="*/ 202417 h 1420050"/>
                  <a:gd name="connsiteX16" fmla="*/ 84655 w 128811"/>
                  <a:gd name="connsiteY16" fmla="*/ 120695 h 1420050"/>
                  <a:gd name="connsiteX17" fmla="*/ 101934 w 128811"/>
                  <a:gd name="connsiteY17" fmla="*/ 58175 h 1420050"/>
                  <a:gd name="connsiteX18" fmla="*/ 117874 w 128811"/>
                  <a:gd name="connsiteY18" fmla="*/ 4002 h 1420050"/>
                  <a:gd name="connsiteX19" fmla="*/ 124810 w 128811"/>
                  <a:gd name="connsiteY19" fmla="*/ 230 h 1420050"/>
                  <a:gd name="connsiteX20" fmla="*/ 128631 w 128811"/>
                  <a:gd name="connsiteY20" fmla="*/ 6996 h 1420050"/>
                  <a:gd name="connsiteX21" fmla="*/ 128631 w 128811"/>
                  <a:gd name="connsiteY21" fmla="*/ 7069 h 1420050"/>
                  <a:gd name="connsiteX22" fmla="*/ 114224 w 128811"/>
                  <a:gd name="connsiteY22" fmla="*/ 61534 h 1420050"/>
                  <a:gd name="connsiteX23" fmla="*/ 98770 w 128811"/>
                  <a:gd name="connsiteY23" fmla="*/ 124248 h 1420050"/>
                  <a:gd name="connsiteX24" fmla="*/ 80932 w 128811"/>
                  <a:gd name="connsiteY24" fmla="*/ 206019 h 1420050"/>
                  <a:gd name="connsiteX25" fmla="*/ 71708 w 128811"/>
                  <a:gd name="connsiteY25" fmla="*/ 252939 h 1420050"/>
                  <a:gd name="connsiteX26" fmla="*/ 63191 w 128811"/>
                  <a:gd name="connsiteY26" fmla="*/ 303364 h 1420050"/>
                  <a:gd name="connsiteX27" fmla="*/ 55451 w 128811"/>
                  <a:gd name="connsiteY27" fmla="*/ 356783 h 1420050"/>
                  <a:gd name="connsiteX28" fmla="*/ 48686 w 128811"/>
                  <a:gd name="connsiteY28" fmla="*/ 412708 h 1420050"/>
                  <a:gd name="connsiteX29" fmla="*/ 43113 w 128811"/>
                  <a:gd name="connsiteY29" fmla="*/ 470653 h 1420050"/>
                  <a:gd name="connsiteX30" fmla="*/ 39536 w 128811"/>
                  <a:gd name="connsiteY30" fmla="*/ 530180 h 1420050"/>
                  <a:gd name="connsiteX31" fmla="*/ 38343 w 128811"/>
                  <a:gd name="connsiteY31" fmla="*/ 560333 h 1420050"/>
                  <a:gd name="connsiteX32" fmla="*/ 37759 w 128811"/>
                  <a:gd name="connsiteY32" fmla="*/ 590680 h 1420050"/>
                  <a:gd name="connsiteX33" fmla="*/ 37662 w 128811"/>
                  <a:gd name="connsiteY33" fmla="*/ 651667 h 1420050"/>
                  <a:gd name="connsiteX34" fmla="*/ 39146 w 128811"/>
                  <a:gd name="connsiteY34" fmla="*/ 712605 h 1420050"/>
                  <a:gd name="connsiteX35" fmla="*/ 43332 w 128811"/>
                  <a:gd name="connsiteY35" fmla="*/ 772935 h 1420050"/>
                  <a:gd name="connsiteX36" fmla="*/ 45498 w 128811"/>
                  <a:gd name="connsiteY36" fmla="*/ 802748 h 1420050"/>
                  <a:gd name="connsiteX37" fmla="*/ 48905 w 128811"/>
                  <a:gd name="connsiteY37" fmla="*/ 832146 h 1420050"/>
                  <a:gd name="connsiteX38" fmla="*/ 55597 w 128811"/>
                  <a:gd name="connsiteY38" fmla="*/ 889799 h 1420050"/>
                  <a:gd name="connsiteX39" fmla="*/ 95899 w 128811"/>
                  <a:gd name="connsiteY39" fmla="*/ 1407191 h 1420050"/>
                  <a:gd name="connsiteX40" fmla="*/ 3420 w 128811"/>
                  <a:gd name="connsiteY40" fmla="*/ 1414492 h 1420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</a:cxnLst>
                <a:rect l="l" t="t" r="r" b="b"/>
                <a:pathLst>
                  <a:path w="128811" h="1420050">
                    <a:moveTo>
                      <a:pt x="3396" y="1414467"/>
                    </a:moveTo>
                    <a:cubicBezTo>
                      <a:pt x="-11206" y="1290352"/>
                      <a:pt x="26418" y="966093"/>
                      <a:pt x="19774" y="894228"/>
                    </a:cubicBezTo>
                    <a:cubicBezTo>
                      <a:pt x="17973" y="874905"/>
                      <a:pt x="16343" y="855265"/>
                      <a:pt x="14591" y="835358"/>
                    </a:cubicBezTo>
                    <a:cubicBezTo>
                      <a:pt x="13714" y="825429"/>
                      <a:pt x="12839" y="815427"/>
                      <a:pt x="11962" y="805376"/>
                    </a:cubicBezTo>
                    <a:cubicBezTo>
                      <a:pt x="11330" y="795301"/>
                      <a:pt x="11062" y="785152"/>
                      <a:pt x="10599" y="775004"/>
                    </a:cubicBezTo>
                    <a:cubicBezTo>
                      <a:pt x="9772" y="754659"/>
                      <a:pt x="8920" y="734168"/>
                      <a:pt x="8068" y="713603"/>
                    </a:cubicBezTo>
                    <a:cubicBezTo>
                      <a:pt x="8141" y="693015"/>
                      <a:pt x="8214" y="672353"/>
                      <a:pt x="8263" y="651667"/>
                    </a:cubicBezTo>
                    <a:cubicBezTo>
                      <a:pt x="7995" y="631005"/>
                      <a:pt x="9042" y="610368"/>
                      <a:pt x="10088" y="589804"/>
                    </a:cubicBezTo>
                    <a:cubicBezTo>
                      <a:pt x="10575" y="579534"/>
                      <a:pt x="11062" y="569288"/>
                      <a:pt x="11524" y="559067"/>
                    </a:cubicBezTo>
                    <a:cubicBezTo>
                      <a:pt x="11865" y="548846"/>
                      <a:pt x="12546" y="538673"/>
                      <a:pt x="13568" y="528549"/>
                    </a:cubicBezTo>
                    <a:cubicBezTo>
                      <a:pt x="15345" y="508326"/>
                      <a:pt x="17121" y="488248"/>
                      <a:pt x="18874" y="468414"/>
                    </a:cubicBezTo>
                    <a:cubicBezTo>
                      <a:pt x="21040" y="448628"/>
                      <a:pt x="23766" y="429159"/>
                      <a:pt x="26126" y="409958"/>
                    </a:cubicBezTo>
                    <a:cubicBezTo>
                      <a:pt x="28292" y="390732"/>
                      <a:pt x="31505" y="372017"/>
                      <a:pt x="34522" y="353668"/>
                    </a:cubicBezTo>
                    <a:cubicBezTo>
                      <a:pt x="37662" y="335343"/>
                      <a:pt x="40120" y="317309"/>
                      <a:pt x="43819" y="299982"/>
                    </a:cubicBezTo>
                    <a:cubicBezTo>
                      <a:pt x="47250" y="282630"/>
                      <a:pt x="50584" y="265740"/>
                      <a:pt x="53821" y="249386"/>
                    </a:cubicBezTo>
                    <a:cubicBezTo>
                      <a:pt x="57471" y="233154"/>
                      <a:pt x="61024" y="217457"/>
                      <a:pt x="64432" y="202417"/>
                    </a:cubicBezTo>
                    <a:cubicBezTo>
                      <a:pt x="70954" y="172240"/>
                      <a:pt x="78717" y="145032"/>
                      <a:pt x="84655" y="120695"/>
                    </a:cubicBezTo>
                    <a:cubicBezTo>
                      <a:pt x="91324" y="96554"/>
                      <a:pt x="97140" y="75503"/>
                      <a:pt x="101934" y="58175"/>
                    </a:cubicBezTo>
                    <a:cubicBezTo>
                      <a:pt x="112082" y="23690"/>
                      <a:pt x="117874" y="4002"/>
                      <a:pt x="117874" y="4002"/>
                    </a:cubicBezTo>
                    <a:cubicBezTo>
                      <a:pt x="118750" y="1058"/>
                      <a:pt x="121841" y="-646"/>
                      <a:pt x="124810" y="230"/>
                    </a:cubicBezTo>
                    <a:cubicBezTo>
                      <a:pt x="127706" y="1082"/>
                      <a:pt x="129385" y="4100"/>
                      <a:pt x="128631" y="6996"/>
                    </a:cubicBezTo>
                    <a:lnTo>
                      <a:pt x="128631" y="7069"/>
                    </a:lnTo>
                    <a:cubicBezTo>
                      <a:pt x="128631" y="7069"/>
                      <a:pt x="123374" y="26879"/>
                      <a:pt x="114224" y="61534"/>
                    </a:cubicBezTo>
                    <a:cubicBezTo>
                      <a:pt x="109941" y="78910"/>
                      <a:pt x="104732" y="100034"/>
                      <a:pt x="98770" y="124248"/>
                    </a:cubicBezTo>
                    <a:cubicBezTo>
                      <a:pt x="93538" y="148634"/>
                      <a:pt x="86553" y="175890"/>
                      <a:pt x="80932" y="206019"/>
                    </a:cubicBezTo>
                    <a:cubicBezTo>
                      <a:pt x="77962" y="221059"/>
                      <a:pt x="74897" y="236707"/>
                      <a:pt x="71708" y="252939"/>
                    </a:cubicBezTo>
                    <a:cubicBezTo>
                      <a:pt x="68958" y="269220"/>
                      <a:pt x="66111" y="286061"/>
                      <a:pt x="63191" y="303364"/>
                    </a:cubicBezTo>
                    <a:cubicBezTo>
                      <a:pt x="60002" y="320619"/>
                      <a:pt x="58055" y="338555"/>
                      <a:pt x="55451" y="356783"/>
                    </a:cubicBezTo>
                    <a:cubicBezTo>
                      <a:pt x="52945" y="375035"/>
                      <a:pt x="50292" y="393653"/>
                      <a:pt x="48686" y="412708"/>
                    </a:cubicBezTo>
                    <a:cubicBezTo>
                      <a:pt x="46885" y="431739"/>
                      <a:pt x="44719" y="451062"/>
                      <a:pt x="43113" y="470653"/>
                    </a:cubicBezTo>
                    <a:cubicBezTo>
                      <a:pt x="41921" y="490268"/>
                      <a:pt x="40728" y="510151"/>
                      <a:pt x="39536" y="530180"/>
                    </a:cubicBezTo>
                    <a:cubicBezTo>
                      <a:pt x="38781" y="540182"/>
                      <a:pt x="38416" y="550233"/>
                      <a:pt x="38343" y="560333"/>
                    </a:cubicBezTo>
                    <a:cubicBezTo>
                      <a:pt x="38148" y="570432"/>
                      <a:pt x="37953" y="580556"/>
                      <a:pt x="37759" y="590680"/>
                    </a:cubicBezTo>
                    <a:cubicBezTo>
                      <a:pt x="37296" y="610952"/>
                      <a:pt x="36810" y="631298"/>
                      <a:pt x="37662" y="651667"/>
                    </a:cubicBezTo>
                    <a:cubicBezTo>
                      <a:pt x="38148" y="672012"/>
                      <a:pt x="38659" y="692358"/>
                      <a:pt x="39146" y="712605"/>
                    </a:cubicBezTo>
                    <a:cubicBezTo>
                      <a:pt x="40558" y="732829"/>
                      <a:pt x="41945" y="752955"/>
                      <a:pt x="43332" y="772935"/>
                    </a:cubicBezTo>
                    <a:cubicBezTo>
                      <a:pt x="44062" y="782913"/>
                      <a:pt x="44597" y="792867"/>
                      <a:pt x="45498" y="802748"/>
                    </a:cubicBezTo>
                    <a:cubicBezTo>
                      <a:pt x="46642" y="812604"/>
                      <a:pt x="47785" y="822411"/>
                      <a:pt x="48905" y="832146"/>
                    </a:cubicBezTo>
                    <a:cubicBezTo>
                      <a:pt x="51169" y="851615"/>
                      <a:pt x="53383" y="870865"/>
                      <a:pt x="55597" y="889799"/>
                    </a:cubicBezTo>
                    <a:cubicBezTo>
                      <a:pt x="58664" y="908611"/>
                      <a:pt x="98332" y="1348783"/>
                      <a:pt x="95899" y="1407191"/>
                    </a:cubicBezTo>
                    <a:cubicBezTo>
                      <a:pt x="102347" y="1430968"/>
                      <a:pt x="3420" y="1414492"/>
                      <a:pt x="3420" y="1414492"/>
                    </a:cubicBezTo>
                    <a:close/>
                  </a:path>
                </a:pathLst>
              </a:custGeom>
              <a:solidFill>
                <a:schemeClr val="accent5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1166" name="Freeform: Shape 1165">
                <a:extLst>
                  <a:ext uri="{FF2B5EF4-FFF2-40B4-BE49-F238E27FC236}">
                    <a16:creationId xmlns:a16="http://schemas.microsoft.com/office/drawing/2014/main" id="{D1B448AE-0828-ABBE-2696-817D608EA9BF}"/>
                  </a:ext>
                </a:extLst>
              </p:cNvPr>
              <p:cNvSpPr/>
              <p:nvPr/>
            </p:nvSpPr>
            <p:spPr>
              <a:xfrm>
                <a:off x="7431597" y="2872789"/>
                <a:ext cx="506912" cy="206231"/>
              </a:xfrm>
              <a:custGeom>
                <a:avLst/>
                <a:gdLst>
                  <a:gd name="connsiteX0" fmla="*/ 3928 w 506912"/>
                  <a:gd name="connsiteY0" fmla="*/ 141156 h 206231"/>
                  <a:gd name="connsiteX1" fmla="*/ 506912 w 506912"/>
                  <a:gd name="connsiteY1" fmla="*/ 206232 h 206231"/>
                  <a:gd name="connsiteX2" fmla="*/ 3928 w 506912"/>
                  <a:gd name="connsiteY2" fmla="*/ 141156 h 2062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506912" h="206231">
                    <a:moveTo>
                      <a:pt x="3928" y="141156"/>
                    </a:moveTo>
                    <a:cubicBezTo>
                      <a:pt x="-34792" y="116114"/>
                      <a:pt x="218599" y="-200941"/>
                      <a:pt x="506912" y="206232"/>
                    </a:cubicBezTo>
                    <a:lnTo>
                      <a:pt x="3928" y="141156"/>
                    </a:lnTo>
                    <a:close/>
                  </a:path>
                </a:pathLst>
              </a:custGeom>
              <a:solidFill>
                <a:schemeClr val="accent1">
                  <a:lumMod val="75000"/>
                </a:schemeClr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1167" name="Freeform: Shape 1166">
                <a:extLst>
                  <a:ext uri="{FF2B5EF4-FFF2-40B4-BE49-F238E27FC236}">
                    <a16:creationId xmlns:a16="http://schemas.microsoft.com/office/drawing/2014/main" id="{FC6B5539-C47B-F1B8-798E-9842CC3A7964}"/>
                  </a:ext>
                </a:extLst>
              </p:cNvPr>
              <p:cNvSpPr/>
              <p:nvPr/>
            </p:nvSpPr>
            <p:spPr>
              <a:xfrm>
                <a:off x="7939436" y="3242958"/>
                <a:ext cx="82075" cy="328131"/>
              </a:xfrm>
              <a:custGeom>
                <a:avLst/>
                <a:gdLst>
                  <a:gd name="connsiteX0" fmla="*/ 11899 w 82075"/>
                  <a:gd name="connsiteY0" fmla="*/ 4129 h 328131"/>
                  <a:gd name="connsiteX1" fmla="*/ 58600 w 82075"/>
                  <a:gd name="connsiteY1" fmla="*/ 157619 h 328131"/>
                  <a:gd name="connsiteX2" fmla="*/ 71766 w 82075"/>
                  <a:gd name="connsiteY2" fmla="*/ 215272 h 328131"/>
                  <a:gd name="connsiteX3" fmla="*/ 76585 w 82075"/>
                  <a:gd name="connsiteY3" fmla="*/ 242188 h 328131"/>
                  <a:gd name="connsiteX4" fmla="*/ 79894 w 82075"/>
                  <a:gd name="connsiteY4" fmla="*/ 266597 h 328131"/>
                  <a:gd name="connsiteX5" fmla="*/ 81111 w 82075"/>
                  <a:gd name="connsiteY5" fmla="*/ 277524 h 328131"/>
                  <a:gd name="connsiteX6" fmla="*/ 81598 w 82075"/>
                  <a:gd name="connsiteY6" fmla="*/ 287551 h 328131"/>
                  <a:gd name="connsiteX7" fmla="*/ 81914 w 82075"/>
                  <a:gd name="connsiteY7" fmla="*/ 303978 h 328131"/>
                  <a:gd name="connsiteX8" fmla="*/ 81209 w 82075"/>
                  <a:gd name="connsiteY8" fmla="*/ 318556 h 328131"/>
                  <a:gd name="connsiteX9" fmla="*/ 70695 w 82075"/>
                  <a:gd name="connsiteY9" fmla="*/ 328120 h 328131"/>
                  <a:gd name="connsiteX10" fmla="*/ 61131 w 82075"/>
                  <a:gd name="connsiteY10" fmla="*/ 317606 h 328131"/>
                  <a:gd name="connsiteX11" fmla="*/ 61131 w 82075"/>
                  <a:gd name="connsiteY11" fmla="*/ 317436 h 328131"/>
                  <a:gd name="connsiteX12" fmla="*/ 61228 w 82075"/>
                  <a:gd name="connsiteY12" fmla="*/ 316146 h 328131"/>
                  <a:gd name="connsiteX13" fmla="*/ 62129 w 82075"/>
                  <a:gd name="connsiteY13" fmla="*/ 303297 h 328131"/>
                  <a:gd name="connsiteX14" fmla="*/ 62202 w 82075"/>
                  <a:gd name="connsiteY14" fmla="*/ 288232 h 328131"/>
                  <a:gd name="connsiteX15" fmla="*/ 62007 w 82075"/>
                  <a:gd name="connsiteY15" fmla="*/ 278887 h 328131"/>
                  <a:gd name="connsiteX16" fmla="*/ 61107 w 82075"/>
                  <a:gd name="connsiteY16" fmla="*/ 268423 h 328131"/>
                  <a:gd name="connsiteX17" fmla="*/ 58503 w 82075"/>
                  <a:gd name="connsiteY17" fmla="*/ 244841 h 328131"/>
                  <a:gd name="connsiteX18" fmla="*/ 54439 w 82075"/>
                  <a:gd name="connsiteY18" fmla="*/ 218484 h 328131"/>
                  <a:gd name="connsiteX19" fmla="*/ 42879 w 82075"/>
                  <a:gd name="connsiteY19" fmla="*/ 161415 h 328131"/>
                  <a:gd name="connsiteX20" fmla="*/ 14965 w 82075"/>
                  <a:gd name="connsiteY20" fmla="*/ 55625 h 328131"/>
                  <a:gd name="connsiteX21" fmla="*/ 314 w 82075"/>
                  <a:gd name="connsiteY21" fmla="*/ 8072 h 328131"/>
                  <a:gd name="connsiteX22" fmla="*/ 4233 w 82075"/>
                  <a:gd name="connsiteY22" fmla="*/ 308 h 328131"/>
                  <a:gd name="connsiteX23" fmla="*/ 11947 w 82075"/>
                  <a:gd name="connsiteY23" fmla="*/ 4105 h 3281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</a:cxnLst>
                <a:rect l="l" t="t" r="r" b="b"/>
                <a:pathLst>
                  <a:path w="82075" h="328131">
                    <a:moveTo>
                      <a:pt x="11899" y="4129"/>
                    </a:moveTo>
                    <a:cubicBezTo>
                      <a:pt x="11899" y="4129"/>
                      <a:pt x="38839" y="79694"/>
                      <a:pt x="58600" y="157619"/>
                    </a:cubicBezTo>
                    <a:cubicBezTo>
                      <a:pt x="63516" y="177112"/>
                      <a:pt x="68188" y="196679"/>
                      <a:pt x="71766" y="215272"/>
                    </a:cubicBezTo>
                    <a:cubicBezTo>
                      <a:pt x="73688" y="224520"/>
                      <a:pt x="75319" y="233548"/>
                      <a:pt x="76585" y="242188"/>
                    </a:cubicBezTo>
                    <a:cubicBezTo>
                      <a:pt x="78093" y="250754"/>
                      <a:pt x="79140" y="258980"/>
                      <a:pt x="79894" y="266597"/>
                    </a:cubicBezTo>
                    <a:cubicBezTo>
                      <a:pt x="80308" y="270394"/>
                      <a:pt x="80722" y="274044"/>
                      <a:pt x="81111" y="277524"/>
                    </a:cubicBezTo>
                    <a:cubicBezTo>
                      <a:pt x="81282" y="281053"/>
                      <a:pt x="81428" y="284412"/>
                      <a:pt x="81598" y="287551"/>
                    </a:cubicBezTo>
                    <a:cubicBezTo>
                      <a:pt x="81841" y="293854"/>
                      <a:pt x="82328" y="299306"/>
                      <a:pt x="81914" y="303978"/>
                    </a:cubicBezTo>
                    <a:cubicBezTo>
                      <a:pt x="81477" y="313250"/>
                      <a:pt x="81209" y="318556"/>
                      <a:pt x="81209" y="318556"/>
                    </a:cubicBezTo>
                    <a:cubicBezTo>
                      <a:pt x="80941" y="324104"/>
                      <a:pt x="76244" y="328387"/>
                      <a:pt x="70695" y="328120"/>
                    </a:cubicBezTo>
                    <a:cubicBezTo>
                      <a:pt x="65146" y="327852"/>
                      <a:pt x="60863" y="323155"/>
                      <a:pt x="61131" y="317606"/>
                    </a:cubicBezTo>
                    <a:cubicBezTo>
                      <a:pt x="61131" y="317558"/>
                      <a:pt x="61131" y="317485"/>
                      <a:pt x="61131" y="317436"/>
                    </a:cubicBezTo>
                    <a:lnTo>
                      <a:pt x="61228" y="316146"/>
                    </a:lnTo>
                    <a:cubicBezTo>
                      <a:pt x="61228" y="316146"/>
                      <a:pt x="61545" y="311474"/>
                      <a:pt x="62129" y="303297"/>
                    </a:cubicBezTo>
                    <a:cubicBezTo>
                      <a:pt x="62640" y="299257"/>
                      <a:pt x="62299" y="294097"/>
                      <a:pt x="62202" y="288232"/>
                    </a:cubicBezTo>
                    <a:cubicBezTo>
                      <a:pt x="62129" y="285288"/>
                      <a:pt x="62080" y="282173"/>
                      <a:pt x="62007" y="278887"/>
                    </a:cubicBezTo>
                    <a:cubicBezTo>
                      <a:pt x="61715" y="275553"/>
                      <a:pt x="61423" y="272073"/>
                      <a:pt x="61107" y="268423"/>
                    </a:cubicBezTo>
                    <a:cubicBezTo>
                      <a:pt x="60571" y="261122"/>
                      <a:pt x="59768" y="253212"/>
                      <a:pt x="58503" y="244841"/>
                    </a:cubicBezTo>
                    <a:cubicBezTo>
                      <a:pt x="57481" y="236445"/>
                      <a:pt x="56118" y="227635"/>
                      <a:pt x="54439" y="218484"/>
                    </a:cubicBezTo>
                    <a:cubicBezTo>
                      <a:pt x="51396" y="200208"/>
                      <a:pt x="47259" y="180787"/>
                      <a:pt x="42879" y="161415"/>
                    </a:cubicBezTo>
                    <a:cubicBezTo>
                      <a:pt x="34069" y="122672"/>
                      <a:pt x="23410" y="84269"/>
                      <a:pt x="14965" y="55625"/>
                    </a:cubicBezTo>
                    <a:cubicBezTo>
                      <a:pt x="6520" y="26932"/>
                      <a:pt x="314" y="8072"/>
                      <a:pt x="314" y="8072"/>
                    </a:cubicBezTo>
                    <a:cubicBezTo>
                      <a:pt x="-756" y="4859"/>
                      <a:pt x="996" y="1379"/>
                      <a:pt x="4233" y="308"/>
                    </a:cubicBezTo>
                    <a:cubicBezTo>
                      <a:pt x="7396" y="-738"/>
                      <a:pt x="10828" y="966"/>
                      <a:pt x="11947" y="4105"/>
                    </a:cubicBezTo>
                    <a:close/>
                  </a:path>
                </a:pathLst>
              </a:custGeom>
              <a:solidFill>
                <a:schemeClr val="accent5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1168" name="Freeform: Shape 1167">
                <a:extLst>
                  <a:ext uri="{FF2B5EF4-FFF2-40B4-BE49-F238E27FC236}">
                    <a16:creationId xmlns:a16="http://schemas.microsoft.com/office/drawing/2014/main" id="{89B44F1A-724F-F367-D9FF-95B0A95A3485}"/>
                  </a:ext>
                </a:extLst>
              </p:cNvPr>
              <p:cNvSpPr/>
              <p:nvPr/>
            </p:nvSpPr>
            <p:spPr>
              <a:xfrm>
                <a:off x="8025336" y="3494718"/>
                <a:ext cx="112401" cy="297435"/>
              </a:xfrm>
              <a:custGeom>
                <a:avLst/>
                <a:gdLst>
                  <a:gd name="connsiteX0" fmla="*/ 1368 w 112401"/>
                  <a:gd name="connsiteY0" fmla="*/ 286749 h 297435"/>
                  <a:gd name="connsiteX1" fmla="*/ 5091 w 112401"/>
                  <a:gd name="connsiteY1" fmla="*/ 238635 h 297435"/>
                  <a:gd name="connsiteX2" fmla="*/ 12636 w 112401"/>
                  <a:gd name="connsiteY2" fmla="*/ 189914 h 297435"/>
                  <a:gd name="connsiteX3" fmla="*/ 18403 w 112401"/>
                  <a:gd name="connsiteY3" fmla="*/ 162682 h 297435"/>
                  <a:gd name="connsiteX4" fmla="*/ 25777 w 112401"/>
                  <a:gd name="connsiteY4" fmla="*/ 134841 h 297435"/>
                  <a:gd name="connsiteX5" fmla="*/ 34733 w 112401"/>
                  <a:gd name="connsiteY5" fmla="*/ 107389 h 297435"/>
                  <a:gd name="connsiteX6" fmla="*/ 45173 w 112401"/>
                  <a:gd name="connsiteY6" fmla="*/ 81349 h 297435"/>
                  <a:gd name="connsiteX7" fmla="*/ 56904 w 112401"/>
                  <a:gd name="connsiteY7" fmla="*/ 57767 h 297435"/>
                  <a:gd name="connsiteX8" fmla="*/ 69461 w 112401"/>
                  <a:gd name="connsiteY8" fmla="*/ 37641 h 297435"/>
                  <a:gd name="connsiteX9" fmla="*/ 81946 w 112401"/>
                  <a:gd name="connsiteY9" fmla="*/ 21798 h 297435"/>
                  <a:gd name="connsiteX10" fmla="*/ 92849 w 112401"/>
                  <a:gd name="connsiteY10" fmla="*/ 10603 h 297435"/>
                  <a:gd name="connsiteX11" fmla="*/ 102997 w 112401"/>
                  <a:gd name="connsiteY11" fmla="*/ 1453 h 297435"/>
                  <a:gd name="connsiteX12" fmla="*/ 110955 w 112401"/>
                  <a:gd name="connsiteY12" fmla="*/ 1867 h 297435"/>
                  <a:gd name="connsiteX13" fmla="*/ 110662 w 112401"/>
                  <a:gd name="connsiteY13" fmla="*/ 9703 h 297435"/>
                  <a:gd name="connsiteX14" fmla="*/ 109957 w 112401"/>
                  <a:gd name="connsiteY14" fmla="*/ 10384 h 297435"/>
                  <a:gd name="connsiteX15" fmla="*/ 100904 w 112401"/>
                  <a:gd name="connsiteY15" fmla="*/ 19072 h 297435"/>
                  <a:gd name="connsiteX16" fmla="*/ 91169 w 112401"/>
                  <a:gd name="connsiteY16" fmla="*/ 29659 h 297435"/>
                  <a:gd name="connsiteX17" fmla="*/ 79950 w 112401"/>
                  <a:gd name="connsiteY17" fmla="*/ 44747 h 297435"/>
                  <a:gd name="connsiteX18" fmla="*/ 68633 w 112401"/>
                  <a:gd name="connsiteY18" fmla="*/ 64095 h 297435"/>
                  <a:gd name="connsiteX19" fmla="*/ 58072 w 112401"/>
                  <a:gd name="connsiteY19" fmla="*/ 86922 h 297435"/>
                  <a:gd name="connsiteX20" fmla="*/ 48702 w 112401"/>
                  <a:gd name="connsiteY20" fmla="*/ 112257 h 297435"/>
                  <a:gd name="connsiteX21" fmla="*/ 40720 w 112401"/>
                  <a:gd name="connsiteY21" fmla="*/ 139075 h 297435"/>
                  <a:gd name="connsiteX22" fmla="*/ 34173 w 112401"/>
                  <a:gd name="connsiteY22" fmla="*/ 166332 h 297435"/>
                  <a:gd name="connsiteX23" fmla="*/ 28990 w 112401"/>
                  <a:gd name="connsiteY23" fmla="*/ 193029 h 297435"/>
                  <a:gd name="connsiteX24" fmla="*/ 22370 w 112401"/>
                  <a:gd name="connsiteY24" fmla="*/ 240850 h 297435"/>
                  <a:gd name="connsiteX25" fmla="*/ 18866 w 112401"/>
                  <a:gd name="connsiteY25" fmla="*/ 287649 h 297435"/>
                  <a:gd name="connsiteX26" fmla="*/ 8523 w 112401"/>
                  <a:gd name="connsiteY26" fmla="*/ 297432 h 297435"/>
                  <a:gd name="connsiteX27" fmla="*/ 5 w 112401"/>
                  <a:gd name="connsiteY27" fmla="*/ 287089 h 297435"/>
                  <a:gd name="connsiteX28" fmla="*/ 1295 w 112401"/>
                  <a:gd name="connsiteY28" fmla="*/ 286822 h 297435"/>
                  <a:gd name="connsiteX29" fmla="*/ 1295 w 112401"/>
                  <a:gd name="connsiteY29" fmla="*/ 286676 h 2974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</a:cxnLst>
                <a:rect l="l" t="t" r="r" b="b"/>
                <a:pathLst>
                  <a:path w="112401" h="297435">
                    <a:moveTo>
                      <a:pt x="1368" y="286749"/>
                    </a:moveTo>
                    <a:cubicBezTo>
                      <a:pt x="1368" y="286749"/>
                      <a:pt x="1197" y="267206"/>
                      <a:pt x="5091" y="238635"/>
                    </a:cubicBezTo>
                    <a:cubicBezTo>
                      <a:pt x="7014" y="224301"/>
                      <a:pt x="9082" y="207631"/>
                      <a:pt x="12636" y="189914"/>
                    </a:cubicBezTo>
                    <a:cubicBezTo>
                      <a:pt x="14582" y="181080"/>
                      <a:pt x="15945" y="171881"/>
                      <a:pt x="18403" y="162682"/>
                    </a:cubicBezTo>
                    <a:cubicBezTo>
                      <a:pt x="20642" y="153434"/>
                      <a:pt x="22881" y="144089"/>
                      <a:pt x="25777" y="134841"/>
                    </a:cubicBezTo>
                    <a:cubicBezTo>
                      <a:pt x="28333" y="125520"/>
                      <a:pt x="31497" y="116369"/>
                      <a:pt x="34733" y="107389"/>
                    </a:cubicBezTo>
                    <a:cubicBezTo>
                      <a:pt x="37653" y="98312"/>
                      <a:pt x="41742" y="89770"/>
                      <a:pt x="45173" y="81349"/>
                    </a:cubicBezTo>
                    <a:cubicBezTo>
                      <a:pt x="48629" y="72929"/>
                      <a:pt x="53205" y="65263"/>
                      <a:pt x="56904" y="57767"/>
                    </a:cubicBezTo>
                    <a:cubicBezTo>
                      <a:pt x="60846" y="50369"/>
                      <a:pt x="65591" y="43871"/>
                      <a:pt x="69461" y="37641"/>
                    </a:cubicBezTo>
                    <a:cubicBezTo>
                      <a:pt x="73428" y="31435"/>
                      <a:pt x="78271" y="26544"/>
                      <a:pt x="81946" y="21798"/>
                    </a:cubicBezTo>
                    <a:cubicBezTo>
                      <a:pt x="85548" y="16980"/>
                      <a:pt x="89587" y="13499"/>
                      <a:pt x="92849" y="10603"/>
                    </a:cubicBezTo>
                    <a:cubicBezTo>
                      <a:pt x="99322" y="4787"/>
                      <a:pt x="102997" y="1453"/>
                      <a:pt x="102997" y="1453"/>
                    </a:cubicBezTo>
                    <a:cubicBezTo>
                      <a:pt x="105309" y="-640"/>
                      <a:pt x="108886" y="-445"/>
                      <a:pt x="110955" y="1867"/>
                    </a:cubicBezTo>
                    <a:cubicBezTo>
                      <a:pt x="112999" y="4130"/>
                      <a:pt x="112853" y="7610"/>
                      <a:pt x="110662" y="9703"/>
                    </a:cubicBezTo>
                    <a:lnTo>
                      <a:pt x="109957" y="10384"/>
                    </a:lnTo>
                    <a:cubicBezTo>
                      <a:pt x="109957" y="10384"/>
                      <a:pt x="106672" y="13548"/>
                      <a:pt x="100904" y="19072"/>
                    </a:cubicBezTo>
                    <a:cubicBezTo>
                      <a:pt x="98008" y="21798"/>
                      <a:pt x="94382" y="25010"/>
                      <a:pt x="91169" y="29659"/>
                    </a:cubicBezTo>
                    <a:cubicBezTo>
                      <a:pt x="87884" y="34210"/>
                      <a:pt x="83503" y="38785"/>
                      <a:pt x="79950" y="44747"/>
                    </a:cubicBezTo>
                    <a:cubicBezTo>
                      <a:pt x="76495" y="50783"/>
                      <a:pt x="72211" y="56940"/>
                      <a:pt x="68633" y="64095"/>
                    </a:cubicBezTo>
                    <a:cubicBezTo>
                      <a:pt x="65324" y="71396"/>
                      <a:pt x="61163" y="78721"/>
                      <a:pt x="58072" y="86922"/>
                    </a:cubicBezTo>
                    <a:cubicBezTo>
                      <a:pt x="55005" y="95148"/>
                      <a:pt x="51282" y="103374"/>
                      <a:pt x="48702" y="112257"/>
                    </a:cubicBezTo>
                    <a:cubicBezTo>
                      <a:pt x="45831" y="121018"/>
                      <a:pt x="42959" y="129925"/>
                      <a:pt x="40720" y="139075"/>
                    </a:cubicBezTo>
                    <a:cubicBezTo>
                      <a:pt x="38165" y="148104"/>
                      <a:pt x="36096" y="157279"/>
                      <a:pt x="34173" y="166332"/>
                    </a:cubicBezTo>
                    <a:cubicBezTo>
                      <a:pt x="32032" y="175336"/>
                      <a:pt x="30645" y="184365"/>
                      <a:pt x="28990" y="193029"/>
                    </a:cubicBezTo>
                    <a:cubicBezTo>
                      <a:pt x="26021" y="210430"/>
                      <a:pt x="23855" y="226784"/>
                      <a:pt x="22370" y="240850"/>
                    </a:cubicBezTo>
                    <a:cubicBezTo>
                      <a:pt x="19377" y="269080"/>
                      <a:pt x="18866" y="287649"/>
                      <a:pt x="18866" y="287649"/>
                    </a:cubicBezTo>
                    <a:cubicBezTo>
                      <a:pt x="18720" y="293198"/>
                      <a:pt x="14096" y="297578"/>
                      <a:pt x="8523" y="297432"/>
                    </a:cubicBezTo>
                    <a:cubicBezTo>
                      <a:pt x="2974" y="297286"/>
                      <a:pt x="-141" y="292638"/>
                      <a:pt x="5" y="287089"/>
                    </a:cubicBezTo>
                    <a:cubicBezTo>
                      <a:pt x="5" y="287016"/>
                      <a:pt x="1295" y="286919"/>
                      <a:pt x="1295" y="286822"/>
                    </a:cubicBezTo>
                    <a:lnTo>
                      <a:pt x="1295" y="286676"/>
                    </a:lnTo>
                    <a:close/>
                  </a:path>
                </a:pathLst>
              </a:custGeom>
              <a:solidFill>
                <a:schemeClr val="accent5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1169" name="Freeform: Shape 1168">
                <a:extLst>
                  <a:ext uri="{FF2B5EF4-FFF2-40B4-BE49-F238E27FC236}">
                    <a16:creationId xmlns:a16="http://schemas.microsoft.com/office/drawing/2014/main" id="{62C0AE05-ADE3-5371-26FA-D9B103890A5D}"/>
                  </a:ext>
                </a:extLst>
              </p:cNvPr>
              <p:cNvSpPr/>
              <p:nvPr/>
            </p:nvSpPr>
            <p:spPr>
              <a:xfrm>
                <a:off x="8123754" y="3167195"/>
                <a:ext cx="715004" cy="354919"/>
              </a:xfrm>
              <a:custGeom>
                <a:avLst/>
                <a:gdLst>
                  <a:gd name="connsiteX0" fmla="*/ 708290 w 715004"/>
                  <a:gd name="connsiteY0" fmla="*/ 89749 h 354919"/>
                  <a:gd name="connsiteX1" fmla="*/ 392112 w 715004"/>
                  <a:gd name="connsiteY1" fmla="*/ 9098 h 354919"/>
                  <a:gd name="connsiteX2" fmla="*/ 1391 w 715004"/>
                  <a:gd name="connsiteY2" fmla="*/ 338273 h 354919"/>
                  <a:gd name="connsiteX3" fmla="*/ 592157 w 715004"/>
                  <a:gd name="connsiteY3" fmla="*/ 230779 h 354919"/>
                  <a:gd name="connsiteX4" fmla="*/ 592279 w 715004"/>
                  <a:gd name="connsiteY4" fmla="*/ 230706 h 354919"/>
                  <a:gd name="connsiteX5" fmla="*/ 708290 w 715004"/>
                  <a:gd name="connsiteY5" fmla="*/ 89749 h 3549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715004" h="354919">
                    <a:moveTo>
                      <a:pt x="708290" y="89749"/>
                    </a:moveTo>
                    <a:cubicBezTo>
                      <a:pt x="630463" y="61933"/>
                      <a:pt x="556967" y="-28745"/>
                      <a:pt x="392112" y="9098"/>
                    </a:cubicBezTo>
                    <a:cubicBezTo>
                      <a:pt x="131177" y="69015"/>
                      <a:pt x="-16034" y="323987"/>
                      <a:pt x="1391" y="338273"/>
                    </a:cubicBezTo>
                    <a:cubicBezTo>
                      <a:pt x="201363" y="385948"/>
                      <a:pt x="452515" y="325374"/>
                      <a:pt x="592157" y="230779"/>
                    </a:cubicBezTo>
                    <a:cubicBezTo>
                      <a:pt x="592157" y="230779"/>
                      <a:pt x="592181" y="230681"/>
                      <a:pt x="592279" y="230706"/>
                    </a:cubicBezTo>
                    <a:cubicBezTo>
                      <a:pt x="660956" y="158986"/>
                      <a:pt x="738492" y="100506"/>
                      <a:pt x="708290" y="89749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grpSp>
            <p:nvGrpSpPr>
              <p:cNvPr id="1170" name="Graphic 1147">
                <a:extLst>
                  <a:ext uri="{FF2B5EF4-FFF2-40B4-BE49-F238E27FC236}">
                    <a16:creationId xmlns:a16="http://schemas.microsoft.com/office/drawing/2014/main" id="{3DB5CC74-DA2F-7892-E2CE-8919540FE7F5}"/>
                  </a:ext>
                </a:extLst>
              </p:cNvPr>
              <p:cNvGrpSpPr/>
              <p:nvPr/>
            </p:nvGrpSpPr>
            <p:grpSpPr>
              <a:xfrm>
                <a:off x="8173078" y="3099592"/>
                <a:ext cx="540138" cy="540138"/>
                <a:chOff x="8173078" y="3099592"/>
                <a:chExt cx="540138" cy="540138"/>
              </a:xfrm>
            </p:grpSpPr>
            <p:sp>
              <p:nvSpPr>
                <p:cNvPr id="1171" name="Freeform: Shape 1170">
                  <a:extLst>
                    <a:ext uri="{FF2B5EF4-FFF2-40B4-BE49-F238E27FC236}">
                      <a16:creationId xmlns:a16="http://schemas.microsoft.com/office/drawing/2014/main" id="{EDD9B2D7-A161-D490-F5D2-DEDDD6D207C0}"/>
                    </a:ext>
                  </a:extLst>
                </p:cNvPr>
                <p:cNvSpPr/>
                <p:nvPr/>
              </p:nvSpPr>
              <p:spPr>
                <a:xfrm rot="-2700000">
                  <a:off x="8252180" y="3178694"/>
                  <a:ext cx="381935" cy="381935"/>
                </a:xfrm>
                <a:custGeom>
                  <a:avLst/>
                  <a:gdLst>
                    <a:gd name="connsiteX0" fmla="*/ 381936 w 381935"/>
                    <a:gd name="connsiteY0" fmla="*/ 190968 h 381935"/>
                    <a:gd name="connsiteX1" fmla="*/ 190968 w 381935"/>
                    <a:gd name="connsiteY1" fmla="*/ 381936 h 381935"/>
                    <a:gd name="connsiteX2" fmla="*/ 0 w 381935"/>
                    <a:gd name="connsiteY2" fmla="*/ 190968 h 381935"/>
                    <a:gd name="connsiteX3" fmla="*/ 190968 w 381935"/>
                    <a:gd name="connsiteY3" fmla="*/ 0 h 381935"/>
                    <a:gd name="connsiteX4" fmla="*/ 381936 w 381935"/>
                    <a:gd name="connsiteY4" fmla="*/ 190968 h 38193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81935" h="381935">
                      <a:moveTo>
                        <a:pt x="381936" y="190968"/>
                      </a:moveTo>
                      <a:cubicBezTo>
                        <a:pt x="381936" y="296437"/>
                        <a:pt x="296436" y="381936"/>
                        <a:pt x="190968" y="381936"/>
                      </a:cubicBezTo>
                      <a:cubicBezTo>
                        <a:pt x="85499" y="381936"/>
                        <a:pt x="0" y="296437"/>
                        <a:pt x="0" y="190968"/>
                      </a:cubicBezTo>
                      <a:cubicBezTo>
                        <a:pt x="0" y="85499"/>
                        <a:pt x="85500" y="0"/>
                        <a:pt x="190968" y="0"/>
                      </a:cubicBezTo>
                      <a:cubicBezTo>
                        <a:pt x="296437" y="0"/>
                        <a:pt x="381936" y="85499"/>
                        <a:pt x="381936" y="190968"/>
                      </a:cubicBezTo>
                      <a:close/>
                    </a:path>
                  </a:pathLst>
                </a:custGeom>
                <a:solidFill>
                  <a:srgbClr val="ED8B00"/>
                </a:solidFill>
                <a:ln w="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defTabSz="914400"/>
                  <a:endParaRPr lang="en-GB" sz="1800"/>
                </a:p>
              </p:txBody>
            </p:sp>
            <p:sp>
              <p:nvSpPr>
                <p:cNvPr id="1172" name="Freeform: Shape 1171">
                  <a:extLst>
                    <a:ext uri="{FF2B5EF4-FFF2-40B4-BE49-F238E27FC236}">
                      <a16:creationId xmlns:a16="http://schemas.microsoft.com/office/drawing/2014/main" id="{6DA311CE-A7B2-F74B-018F-C1338A066FC0}"/>
                    </a:ext>
                  </a:extLst>
                </p:cNvPr>
                <p:cNvSpPr/>
                <p:nvPr/>
              </p:nvSpPr>
              <p:spPr>
                <a:xfrm>
                  <a:off x="8283342" y="3209898"/>
                  <a:ext cx="319607" cy="319686"/>
                </a:xfrm>
                <a:custGeom>
                  <a:avLst/>
                  <a:gdLst>
                    <a:gd name="connsiteX0" fmla="*/ 161242 w 319607"/>
                    <a:gd name="connsiteY0" fmla="*/ 319662 h 319686"/>
                    <a:gd name="connsiteX1" fmla="*/ 68570 w 319607"/>
                    <a:gd name="connsiteY1" fmla="*/ 291042 h 319686"/>
                    <a:gd name="connsiteX2" fmla="*/ 28536 w 319607"/>
                    <a:gd name="connsiteY2" fmla="*/ 68559 h 319686"/>
                    <a:gd name="connsiteX3" fmla="*/ 251044 w 319607"/>
                    <a:gd name="connsiteY3" fmla="*/ 28525 h 319686"/>
                    <a:gd name="connsiteX4" fmla="*/ 291053 w 319607"/>
                    <a:gd name="connsiteY4" fmla="*/ 251033 h 319686"/>
                    <a:gd name="connsiteX5" fmla="*/ 188086 w 319607"/>
                    <a:gd name="connsiteY5" fmla="*/ 317131 h 319686"/>
                    <a:gd name="connsiteX6" fmla="*/ 161242 w 319607"/>
                    <a:gd name="connsiteY6" fmla="*/ 319686 h 319686"/>
                    <a:gd name="connsiteX7" fmla="*/ 158298 w 319607"/>
                    <a:gd name="connsiteY7" fmla="*/ 7985 h 319686"/>
                    <a:gd name="connsiteX8" fmla="*/ 35083 w 319607"/>
                    <a:gd name="connsiteY8" fmla="*/ 73110 h 319686"/>
                    <a:gd name="connsiteX9" fmla="*/ 73096 w 319607"/>
                    <a:gd name="connsiteY9" fmla="*/ 284471 h 319686"/>
                    <a:gd name="connsiteX10" fmla="*/ 186649 w 319607"/>
                    <a:gd name="connsiteY10" fmla="*/ 309246 h 319686"/>
                    <a:gd name="connsiteX11" fmla="*/ 284458 w 319607"/>
                    <a:gd name="connsiteY11" fmla="*/ 246458 h 319686"/>
                    <a:gd name="connsiteX12" fmla="*/ 246444 w 319607"/>
                    <a:gd name="connsiteY12" fmla="*/ 35096 h 319686"/>
                    <a:gd name="connsiteX13" fmla="*/ 158273 w 319607"/>
                    <a:gd name="connsiteY13" fmla="*/ 7985 h 31968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</a:cxnLst>
                  <a:rect l="l" t="t" r="r" b="b"/>
                  <a:pathLst>
                    <a:path w="319607" h="319686">
                      <a:moveTo>
                        <a:pt x="161242" y="319662"/>
                      </a:moveTo>
                      <a:cubicBezTo>
                        <a:pt x="128315" y="320027"/>
                        <a:pt x="96143" y="310219"/>
                        <a:pt x="68570" y="291042"/>
                      </a:cubicBezTo>
                      <a:cubicBezTo>
                        <a:pt x="-3807" y="240739"/>
                        <a:pt x="-21767" y="140935"/>
                        <a:pt x="28536" y="68559"/>
                      </a:cubicBezTo>
                      <a:cubicBezTo>
                        <a:pt x="78840" y="-3818"/>
                        <a:pt x="178668" y="-21754"/>
                        <a:pt x="251044" y="28525"/>
                      </a:cubicBezTo>
                      <a:cubicBezTo>
                        <a:pt x="323421" y="78829"/>
                        <a:pt x="341381" y="178657"/>
                        <a:pt x="291053" y="251033"/>
                      </a:cubicBezTo>
                      <a:cubicBezTo>
                        <a:pt x="266692" y="286102"/>
                        <a:pt x="230115" y="309562"/>
                        <a:pt x="188086" y="317131"/>
                      </a:cubicBezTo>
                      <a:cubicBezTo>
                        <a:pt x="179130" y="318737"/>
                        <a:pt x="170150" y="319589"/>
                        <a:pt x="161242" y="319686"/>
                      </a:cubicBezTo>
                      <a:close/>
                      <a:moveTo>
                        <a:pt x="158298" y="7985"/>
                      </a:moveTo>
                      <a:cubicBezTo>
                        <a:pt x="110793" y="8521"/>
                        <a:pt x="64213" y="31202"/>
                        <a:pt x="35083" y="73110"/>
                      </a:cubicBezTo>
                      <a:cubicBezTo>
                        <a:pt x="-12714" y="141860"/>
                        <a:pt x="4346" y="236675"/>
                        <a:pt x="73096" y="284471"/>
                      </a:cubicBezTo>
                      <a:cubicBezTo>
                        <a:pt x="106412" y="307615"/>
                        <a:pt x="146738" y="316425"/>
                        <a:pt x="186649" y="309246"/>
                      </a:cubicBezTo>
                      <a:cubicBezTo>
                        <a:pt x="226562" y="302067"/>
                        <a:pt x="261314" y="279774"/>
                        <a:pt x="284458" y="246458"/>
                      </a:cubicBezTo>
                      <a:cubicBezTo>
                        <a:pt x="332254" y="177707"/>
                        <a:pt x="315195" y="82893"/>
                        <a:pt x="246444" y="35096"/>
                      </a:cubicBezTo>
                      <a:cubicBezTo>
                        <a:pt x="219577" y="16430"/>
                        <a:pt x="188743" y="7645"/>
                        <a:pt x="158273" y="7985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 w="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GB"/>
                </a:p>
              </p:txBody>
            </p:sp>
            <p:sp>
              <p:nvSpPr>
                <p:cNvPr id="1173" name="Freeform: Shape 1172">
                  <a:extLst>
                    <a:ext uri="{FF2B5EF4-FFF2-40B4-BE49-F238E27FC236}">
                      <a16:creationId xmlns:a16="http://schemas.microsoft.com/office/drawing/2014/main" id="{AE226504-19CB-3B5A-8BAC-F446410A7278}"/>
                    </a:ext>
                  </a:extLst>
                </p:cNvPr>
                <p:cNvSpPr/>
                <p:nvPr/>
              </p:nvSpPr>
              <p:spPr>
                <a:xfrm>
                  <a:off x="8387009" y="3301703"/>
                  <a:ext cx="117016" cy="152427"/>
                </a:xfrm>
                <a:custGeom>
                  <a:avLst/>
                  <a:gdLst>
                    <a:gd name="connsiteX0" fmla="*/ 37839 w 117016"/>
                    <a:gd name="connsiteY0" fmla="*/ 135988 h 152427"/>
                    <a:gd name="connsiteX1" fmla="*/ 40127 w 117016"/>
                    <a:gd name="connsiteY1" fmla="*/ 148789 h 152427"/>
                    <a:gd name="connsiteX2" fmla="*/ 27496 w 117016"/>
                    <a:gd name="connsiteY2" fmla="*/ 150857 h 152427"/>
                    <a:gd name="connsiteX3" fmla="*/ 3671 w 117016"/>
                    <a:gd name="connsiteY3" fmla="*/ 134309 h 152427"/>
                    <a:gd name="connsiteX4" fmla="*/ 1432 w 117016"/>
                    <a:gd name="connsiteY4" fmla="*/ 121921 h 152427"/>
                    <a:gd name="connsiteX5" fmla="*/ 13990 w 117016"/>
                    <a:gd name="connsiteY5" fmla="*/ 119463 h 152427"/>
                    <a:gd name="connsiteX6" fmla="*/ 18467 w 117016"/>
                    <a:gd name="connsiteY6" fmla="*/ 122578 h 152427"/>
                    <a:gd name="connsiteX7" fmla="*/ 90601 w 117016"/>
                    <a:gd name="connsiteY7" fmla="*/ 18808 h 152427"/>
                    <a:gd name="connsiteX8" fmla="*/ 77653 w 117016"/>
                    <a:gd name="connsiteY8" fmla="*/ 16812 h 152427"/>
                    <a:gd name="connsiteX9" fmla="*/ 75585 w 117016"/>
                    <a:gd name="connsiteY9" fmla="*/ 4182 h 152427"/>
                    <a:gd name="connsiteX10" fmla="*/ 82910 w 117016"/>
                    <a:gd name="connsiteY10" fmla="*/ 191 h 152427"/>
                    <a:gd name="connsiteX11" fmla="*/ 112990 w 117016"/>
                    <a:gd name="connsiteY11" fmla="*/ 2211 h 152427"/>
                    <a:gd name="connsiteX12" fmla="*/ 115448 w 117016"/>
                    <a:gd name="connsiteY12" fmla="*/ 14768 h 152427"/>
                    <a:gd name="connsiteX13" fmla="*/ 33313 w 117016"/>
                    <a:gd name="connsiteY13" fmla="*/ 132921 h 152427"/>
                    <a:gd name="connsiteX14" fmla="*/ 37791 w 117016"/>
                    <a:gd name="connsiteY14" fmla="*/ 136036 h 15242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</a:cxnLst>
                  <a:rect l="l" t="t" r="r" b="b"/>
                  <a:pathLst>
                    <a:path w="117016" h="152427">
                      <a:moveTo>
                        <a:pt x="37839" y="135988"/>
                      </a:moveTo>
                      <a:cubicBezTo>
                        <a:pt x="42074" y="138932"/>
                        <a:pt x="43096" y="144530"/>
                        <a:pt x="40127" y="148789"/>
                      </a:cubicBezTo>
                      <a:cubicBezTo>
                        <a:pt x="37669" y="152317"/>
                        <a:pt x="31755" y="153802"/>
                        <a:pt x="27496" y="150857"/>
                      </a:cubicBezTo>
                      <a:lnTo>
                        <a:pt x="3671" y="134309"/>
                      </a:lnTo>
                      <a:cubicBezTo>
                        <a:pt x="-345" y="131534"/>
                        <a:pt x="-1026" y="125450"/>
                        <a:pt x="1432" y="121921"/>
                      </a:cubicBezTo>
                      <a:cubicBezTo>
                        <a:pt x="4377" y="117687"/>
                        <a:pt x="9974" y="116665"/>
                        <a:pt x="13990" y="119463"/>
                      </a:cubicBezTo>
                      <a:lnTo>
                        <a:pt x="18467" y="122578"/>
                      </a:lnTo>
                      <a:lnTo>
                        <a:pt x="90601" y="18808"/>
                      </a:lnTo>
                      <a:cubicBezTo>
                        <a:pt x="85198" y="18540"/>
                        <a:pt x="79552" y="18126"/>
                        <a:pt x="77653" y="16812"/>
                      </a:cubicBezTo>
                      <a:cubicBezTo>
                        <a:pt x="73419" y="13868"/>
                        <a:pt x="72640" y="8416"/>
                        <a:pt x="75585" y="4182"/>
                      </a:cubicBezTo>
                      <a:cubicBezTo>
                        <a:pt x="77069" y="2064"/>
                        <a:pt x="79820" y="118"/>
                        <a:pt x="82910" y="191"/>
                      </a:cubicBezTo>
                      <a:cubicBezTo>
                        <a:pt x="88021" y="-101"/>
                        <a:pt x="109218" y="-418"/>
                        <a:pt x="112990" y="2211"/>
                      </a:cubicBezTo>
                      <a:cubicBezTo>
                        <a:pt x="117224" y="5155"/>
                        <a:pt x="118246" y="10753"/>
                        <a:pt x="115448" y="14768"/>
                      </a:cubicBezTo>
                      <a:lnTo>
                        <a:pt x="33313" y="132921"/>
                      </a:lnTo>
                      <a:lnTo>
                        <a:pt x="37791" y="136036"/>
                      </a:lnTo>
                      <a:close/>
                    </a:path>
                  </a:pathLst>
                </a:custGeom>
                <a:solidFill>
                  <a:schemeClr val="bg1"/>
                </a:solidFill>
                <a:ln w="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GB"/>
                </a:p>
              </p:txBody>
            </p:sp>
          </p:grpSp>
          <p:grpSp>
            <p:nvGrpSpPr>
              <p:cNvPr id="1174" name="Graphic 1147">
                <a:extLst>
                  <a:ext uri="{FF2B5EF4-FFF2-40B4-BE49-F238E27FC236}">
                    <a16:creationId xmlns:a16="http://schemas.microsoft.com/office/drawing/2014/main" id="{47589758-F5D0-39FE-B370-E4358FBD6986}"/>
                  </a:ext>
                </a:extLst>
              </p:cNvPr>
              <p:cNvGrpSpPr/>
              <p:nvPr/>
            </p:nvGrpSpPr>
            <p:grpSpPr>
              <a:xfrm>
                <a:off x="7428459" y="2620646"/>
                <a:ext cx="540138" cy="540138"/>
                <a:chOff x="7428459" y="2620646"/>
                <a:chExt cx="540138" cy="540138"/>
              </a:xfrm>
            </p:grpSpPr>
            <p:sp>
              <p:nvSpPr>
                <p:cNvPr id="1175" name="Freeform: Shape 1174">
                  <a:extLst>
                    <a:ext uri="{FF2B5EF4-FFF2-40B4-BE49-F238E27FC236}">
                      <a16:creationId xmlns:a16="http://schemas.microsoft.com/office/drawing/2014/main" id="{0A74E57E-57C6-DB43-6BE7-35E83AA6BE44}"/>
                    </a:ext>
                  </a:extLst>
                </p:cNvPr>
                <p:cNvSpPr/>
                <p:nvPr/>
              </p:nvSpPr>
              <p:spPr>
                <a:xfrm rot="-2700000">
                  <a:off x="7507560" y="2699748"/>
                  <a:ext cx="381935" cy="381935"/>
                </a:xfrm>
                <a:custGeom>
                  <a:avLst/>
                  <a:gdLst>
                    <a:gd name="connsiteX0" fmla="*/ 381936 w 381935"/>
                    <a:gd name="connsiteY0" fmla="*/ 190968 h 381935"/>
                    <a:gd name="connsiteX1" fmla="*/ 190968 w 381935"/>
                    <a:gd name="connsiteY1" fmla="*/ 381936 h 381935"/>
                    <a:gd name="connsiteX2" fmla="*/ 0 w 381935"/>
                    <a:gd name="connsiteY2" fmla="*/ 190968 h 381935"/>
                    <a:gd name="connsiteX3" fmla="*/ 190968 w 381935"/>
                    <a:gd name="connsiteY3" fmla="*/ 0 h 381935"/>
                    <a:gd name="connsiteX4" fmla="*/ 381936 w 381935"/>
                    <a:gd name="connsiteY4" fmla="*/ 190968 h 38193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81935" h="381935">
                      <a:moveTo>
                        <a:pt x="381936" y="190968"/>
                      </a:moveTo>
                      <a:cubicBezTo>
                        <a:pt x="381936" y="296436"/>
                        <a:pt x="296437" y="381936"/>
                        <a:pt x="190968" y="381936"/>
                      </a:cubicBezTo>
                      <a:cubicBezTo>
                        <a:pt x="85499" y="381936"/>
                        <a:pt x="0" y="296436"/>
                        <a:pt x="0" y="190968"/>
                      </a:cubicBezTo>
                      <a:cubicBezTo>
                        <a:pt x="0" y="85499"/>
                        <a:pt x="85500" y="0"/>
                        <a:pt x="190968" y="0"/>
                      </a:cubicBezTo>
                      <a:cubicBezTo>
                        <a:pt x="296437" y="0"/>
                        <a:pt x="381936" y="85499"/>
                        <a:pt x="381936" y="190968"/>
                      </a:cubicBezTo>
                      <a:close/>
                    </a:path>
                  </a:pathLst>
                </a:custGeom>
                <a:solidFill>
                  <a:srgbClr val="ED8B00"/>
                </a:solidFill>
                <a:ln w="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defTabSz="914400"/>
                  <a:endParaRPr lang="en-GB" sz="1800"/>
                </a:p>
              </p:txBody>
            </p:sp>
            <p:sp>
              <p:nvSpPr>
                <p:cNvPr id="1176" name="Freeform: Shape 1175">
                  <a:extLst>
                    <a:ext uri="{FF2B5EF4-FFF2-40B4-BE49-F238E27FC236}">
                      <a16:creationId xmlns:a16="http://schemas.microsoft.com/office/drawing/2014/main" id="{4EFCB7E2-802B-D456-A945-FC3E4DA45DDA}"/>
                    </a:ext>
                  </a:extLst>
                </p:cNvPr>
                <p:cNvSpPr/>
                <p:nvPr/>
              </p:nvSpPr>
              <p:spPr>
                <a:xfrm>
                  <a:off x="7538732" y="2730904"/>
                  <a:ext cx="319713" cy="319627"/>
                </a:xfrm>
                <a:custGeom>
                  <a:avLst/>
                  <a:gdLst>
                    <a:gd name="connsiteX0" fmla="*/ 660 w 319713"/>
                    <a:gd name="connsiteY0" fmla="*/ 145541 h 319627"/>
                    <a:gd name="connsiteX1" fmla="*/ 73182 w 319713"/>
                    <a:gd name="connsiteY1" fmla="*/ 25465 h 319627"/>
                    <a:gd name="connsiteX2" fmla="*/ 294157 w 319713"/>
                    <a:gd name="connsiteY2" fmla="*/ 73188 h 319627"/>
                    <a:gd name="connsiteX3" fmla="*/ 316060 w 319713"/>
                    <a:gd name="connsiteY3" fmla="*/ 193556 h 319627"/>
                    <a:gd name="connsiteX4" fmla="*/ 246433 w 319713"/>
                    <a:gd name="connsiteY4" fmla="*/ 294163 h 319627"/>
                    <a:gd name="connsiteX5" fmla="*/ 246433 w 319713"/>
                    <a:gd name="connsiteY5" fmla="*/ 294163 h 319627"/>
                    <a:gd name="connsiteX6" fmla="*/ 25458 w 319713"/>
                    <a:gd name="connsiteY6" fmla="*/ 246439 h 319627"/>
                    <a:gd name="connsiteX7" fmla="*/ 660 w 319713"/>
                    <a:gd name="connsiteY7" fmla="*/ 145541 h 319627"/>
                    <a:gd name="connsiteX8" fmla="*/ 310998 w 319713"/>
                    <a:gd name="connsiteY8" fmla="*/ 173381 h 319627"/>
                    <a:gd name="connsiteX9" fmla="*/ 287440 w 319713"/>
                    <a:gd name="connsiteY9" fmla="*/ 77520 h 319627"/>
                    <a:gd name="connsiteX10" fmla="*/ 77514 w 319713"/>
                    <a:gd name="connsiteY10" fmla="*/ 32182 h 319627"/>
                    <a:gd name="connsiteX11" fmla="*/ 32175 w 319713"/>
                    <a:gd name="connsiteY11" fmla="*/ 242107 h 319627"/>
                    <a:gd name="connsiteX12" fmla="*/ 242101 w 319713"/>
                    <a:gd name="connsiteY12" fmla="*/ 287446 h 319627"/>
                    <a:gd name="connsiteX13" fmla="*/ 310998 w 319713"/>
                    <a:gd name="connsiteY13" fmla="*/ 173381 h 31962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</a:cxnLst>
                  <a:rect l="l" t="t" r="r" b="b"/>
                  <a:pathLst>
                    <a:path w="319713" h="319627">
                      <a:moveTo>
                        <a:pt x="660" y="145541"/>
                      </a:moveTo>
                      <a:cubicBezTo>
                        <a:pt x="4967" y="98182"/>
                        <a:pt x="30204" y="53184"/>
                        <a:pt x="73182" y="25465"/>
                      </a:cubicBezTo>
                      <a:cubicBezTo>
                        <a:pt x="147262" y="-22308"/>
                        <a:pt x="246384" y="-892"/>
                        <a:pt x="294157" y="73188"/>
                      </a:cubicBezTo>
                      <a:cubicBezTo>
                        <a:pt x="317301" y="109085"/>
                        <a:pt x="325064" y="151819"/>
                        <a:pt x="316060" y="193556"/>
                      </a:cubicBezTo>
                      <a:cubicBezTo>
                        <a:pt x="307055" y="235293"/>
                        <a:pt x="282329" y="271019"/>
                        <a:pt x="246433" y="294163"/>
                      </a:cubicBezTo>
                      <a:lnTo>
                        <a:pt x="246433" y="294163"/>
                      </a:lnTo>
                      <a:cubicBezTo>
                        <a:pt x="172353" y="341935"/>
                        <a:pt x="73231" y="320519"/>
                        <a:pt x="25458" y="246439"/>
                      </a:cubicBezTo>
                      <a:cubicBezTo>
                        <a:pt x="5405" y="215337"/>
                        <a:pt x="-2455" y="179806"/>
                        <a:pt x="660" y="145541"/>
                      </a:cubicBezTo>
                      <a:close/>
                      <a:moveTo>
                        <a:pt x="310998" y="173381"/>
                      </a:moveTo>
                      <a:cubicBezTo>
                        <a:pt x="313942" y="140819"/>
                        <a:pt x="306495" y="107089"/>
                        <a:pt x="287440" y="77520"/>
                      </a:cubicBezTo>
                      <a:cubicBezTo>
                        <a:pt x="242052" y="7139"/>
                        <a:pt x="147895" y="-13181"/>
                        <a:pt x="77514" y="32182"/>
                      </a:cubicBezTo>
                      <a:cubicBezTo>
                        <a:pt x="7133" y="77569"/>
                        <a:pt x="-13188" y="171727"/>
                        <a:pt x="32175" y="242107"/>
                      </a:cubicBezTo>
                      <a:cubicBezTo>
                        <a:pt x="77539" y="312488"/>
                        <a:pt x="171720" y="332809"/>
                        <a:pt x="242101" y="287446"/>
                      </a:cubicBezTo>
                      <a:cubicBezTo>
                        <a:pt x="282913" y="261114"/>
                        <a:pt x="306909" y="218379"/>
                        <a:pt x="310998" y="173381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 w="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GB"/>
                </a:p>
              </p:txBody>
            </p:sp>
            <p:sp>
              <p:nvSpPr>
                <p:cNvPr id="1177" name="Freeform: Shape 1176">
                  <a:extLst>
                    <a:ext uri="{FF2B5EF4-FFF2-40B4-BE49-F238E27FC236}">
                      <a16:creationId xmlns:a16="http://schemas.microsoft.com/office/drawing/2014/main" id="{FBBCE04C-D024-DEDB-7C44-23812D27B064}"/>
                    </a:ext>
                  </a:extLst>
                </p:cNvPr>
                <p:cNvSpPr/>
                <p:nvPr/>
              </p:nvSpPr>
              <p:spPr>
                <a:xfrm>
                  <a:off x="7620157" y="2830861"/>
                  <a:ext cx="154191" cy="123036"/>
                </a:xfrm>
                <a:custGeom>
                  <a:avLst/>
                  <a:gdLst>
                    <a:gd name="connsiteX0" fmla="*/ 32229 w 154191"/>
                    <a:gd name="connsiteY0" fmla="*/ 109077 h 123036"/>
                    <a:gd name="connsiteX1" fmla="*/ 29479 w 154191"/>
                    <a:gd name="connsiteY1" fmla="*/ 121781 h 123036"/>
                    <a:gd name="connsiteX2" fmla="*/ 17018 w 154191"/>
                    <a:gd name="connsiteY2" fmla="*/ 118885 h 123036"/>
                    <a:gd name="connsiteX3" fmla="*/ 1297 w 154191"/>
                    <a:gd name="connsiteY3" fmla="*/ 94500 h 123036"/>
                    <a:gd name="connsiteX4" fmla="*/ 3950 w 154191"/>
                    <a:gd name="connsiteY4" fmla="*/ 82186 h 123036"/>
                    <a:gd name="connsiteX5" fmla="*/ 16508 w 154191"/>
                    <a:gd name="connsiteY5" fmla="*/ 84692 h 123036"/>
                    <a:gd name="connsiteX6" fmla="*/ 19452 w 154191"/>
                    <a:gd name="connsiteY6" fmla="*/ 89267 h 123036"/>
                    <a:gd name="connsiteX7" fmla="*/ 125657 w 154191"/>
                    <a:gd name="connsiteY7" fmla="*/ 20785 h 123036"/>
                    <a:gd name="connsiteX8" fmla="*/ 114437 w 154191"/>
                    <a:gd name="connsiteY8" fmla="*/ 13995 h 123036"/>
                    <a:gd name="connsiteX9" fmla="*/ 117333 w 154191"/>
                    <a:gd name="connsiteY9" fmla="*/ 1535 h 123036"/>
                    <a:gd name="connsiteX10" fmla="*/ 125632 w 154191"/>
                    <a:gd name="connsiteY10" fmla="*/ 634 h 123036"/>
                    <a:gd name="connsiteX11" fmla="*/ 152670 w 154191"/>
                    <a:gd name="connsiteY11" fmla="*/ 13946 h 123036"/>
                    <a:gd name="connsiteX12" fmla="*/ 150163 w 154191"/>
                    <a:gd name="connsiteY12" fmla="*/ 26504 h 123036"/>
                    <a:gd name="connsiteX13" fmla="*/ 29211 w 154191"/>
                    <a:gd name="connsiteY13" fmla="*/ 104478 h 123036"/>
                    <a:gd name="connsiteX14" fmla="*/ 32156 w 154191"/>
                    <a:gd name="connsiteY14" fmla="*/ 109053 h 12303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</a:cxnLst>
                  <a:rect l="l" t="t" r="r" b="b"/>
                  <a:pathLst>
                    <a:path w="154191" h="123036">
                      <a:moveTo>
                        <a:pt x="32229" y="109077"/>
                      </a:moveTo>
                      <a:cubicBezTo>
                        <a:pt x="35028" y="113434"/>
                        <a:pt x="33835" y="118982"/>
                        <a:pt x="29479" y="121781"/>
                      </a:cubicBezTo>
                      <a:cubicBezTo>
                        <a:pt x="25853" y="124117"/>
                        <a:pt x="19818" y="123217"/>
                        <a:pt x="17018" y="118885"/>
                      </a:cubicBezTo>
                      <a:lnTo>
                        <a:pt x="1297" y="94500"/>
                      </a:lnTo>
                      <a:cubicBezTo>
                        <a:pt x="-1356" y="90387"/>
                        <a:pt x="324" y="84522"/>
                        <a:pt x="3950" y="82186"/>
                      </a:cubicBezTo>
                      <a:cubicBezTo>
                        <a:pt x="8306" y="79387"/>
                        <a:pt x="13855" y="80579"/>
                        <a:pt x="16508" y="84692"/>
                      </a:cubicBezTo>
                      <a:lnTo>
                        <a:pt x="19452" y="89267"/>
                      </a:lnTo>
                      <a:lnTo>
                        <a:pt x="125657" y="20785"/>
                      </a:lnTo>
                      <a:cubicBezTo>
                        <a:pt x="120765" y="18473"/>
                        <a:pt x="115703" y="15918"/>
                        <a:pt x="114437" y="13995"/>
                      </a:cubicBezTo>
                      <a:cubicBezTo>
                        <a:pt x="111639" y="9639"/>
                        <a:pt x="113002" y="4333"/>
                        <a:pt x="117333" y="1535"/>
                      </a:cubicBezTo>
                      <a:cubicBezTo>
                        <a:pt x="119499" y="123"/>
                        <a:pt x="122784" y="-607"/>
                        <a:pt x="125632" y="634"/>
                      </a:cubicBezTo>
                      <a:cubicBezTo>
                        <a:pt x="130475" y="2313"/>
                        <a:pt x="150187" y="10101"/>
                        <a:pt x="152670" y="13946"/>
                      </a:cubicBezTo>
                      <a:cubicBezTo>
                        <a:pt x="155469" y="18302"/>
                        <a:pt x="154276" y="23851"/>
                        <a:pt x="150163" y="26504"/>
                      </a:cubicBezTo>
                      <a:lnTo>
                        <a:pt x="29211" y="104478"/>
                      </a:lnTo>
                      <a:lnTo>
                        <a:pt x="32156" y="109053"/>
                      </a:lnTo>
                      <a:close/>
                    </a:path>
                  </a:pathLst>
                </a:custGeom>
                <a:solidFill>
                  <a:schemeClr val="bg1"/>
                </a:solidFill>
                <a:ln w="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GB"/>
                </a:p>
              </p:txBody>
            </p:sp>
          </p:grpSp>
          <p:sp>
            <p:nvSpPr>
              <p:cNvPr id="1178" name="Freeform: Shape 1177">
                <a:extLst>
                  <a:ext uri="{FF2B5EF4-FFF2-40B4-BE49-F238E27FC236}">
                    <a16:creationId xmlns:a16="http://schemas.microsoft.com/office/drawing/2014/main" id="{28E54B04-6D1C-901F-0D2E-D5ECC5D26338}"/>
                  </a:ext>
                </a:extLst>
              </p:cNvPr>
              <p:cNvSpPr/>
              <p:nvPr/>
            </p:nvSpPr>
            <p:spPr>
              <a:xfrm>
                <a:off x="8125120" y="3397949"/>
                <a:ext cx="590766" cy="170216"/>
              </a:xfrm>
              <a:custGeom>
                <a:avLst/>
                <a:gdLst>
                  <a:gd name="connsiteX0" fmla="*/ 0 w 590766"/>
                  <a:gd name="connsiteY0" fmla="*/ 107494 h 170216"/>
                  <a:gd name="connsiteX1" fmla="*/ 221291 w 590766"/>
                  <a:gd name="connsiteY1" fmla="*/ 162494 h 170216"/>
                  <a:gd name="connsiteX2" fmla="*/ 572806 w 590766"/>
                  <a:gd name="connsiteY2" fmla="*/ 19299 h 170216"/>
                  <a:gd name="connsiteX3" fmla="*/ 590766 w 590766"/>
                  <a:gd name="connsiteY3" fmla="*/ 0 h 170216"/>
                  <a:gd name="connsiteX4" fmla="*/ 0 w 590766"/>
                  <a:gd name="connsiteY4" fmla="*/ 107494 h 1702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90766" h="170216">
                    <a:moveTo>
                      <a:pt x="0" y="107494"/>
                    </a:moveTo>
                    <a:cubicBezTo>
                      <a:pt x="20759" y="125454"/>
                      <a:pt x="121706" y="146164"/>
                      <a:pt x="221291" y="162494"/>
                    </a:cubicBezTo>
                    <a:cubicBezTo>
                      <a:pt x="461272" y="201871"/>
                      <a:pt x="517319" y="80919"/>
                      <a:pt x="572806" y="19299"/>
                    </a:cubicBezTo>
                    <a:cubicBezTo>
                      <a:pt x="578696" y="12728"/>
                      <a:pt x="584658" y="6279"/>
                      <a:pt x="590766" y="0"/>
                    </a:cubicBezTo>
                    <a:cubicBezTo>
                      <a:pt x="451124" y="94596"/>
                      <a:pt x="199948" y="155169"/>
                      <a:pt x="0" y="107494"/>
                    </a:cubicBezTo>
                    <a:close/>
                  </a:path>
                </a:pathLst>
              </a:custGeom>
              <a:solidFill>
                <a:schemeClr val="accent1">
                  <a:lumMod val="75000"/>
                </a:schemeClr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1179" name="Freeform: Shape 1178">
                <a:extLst>
                  <a:ext uri="{FF2B5EF4-FFF2-40B4-BE49-F238E27FC236}">
                    <a16:creationId xmlns:a16="http://schemas.microsoft.com/office/drawing/2014/main" id="{0136376E-8417-F126-7F18-BD1B3B13A183}"/>
                  </a:ext>
                </a:extLst>
              </p:cNvPr>
              <p:cNvSpPr/>
              <p:nvPr/>
            </p:nvSpPr>
            <p:spPr>
              <a:xfrm>
                <a:off x="8045048" y="2509833"/>
                <a:ext cx="415524" cy="398159"/>
              </a:xfrm>
              <a:custGeom>
                <a:avLst/>
                <a:gdLst>
                  <a:gd name="connsiteX0" fmla="*/ 322026 w 415524"/>
                  <a:gd name="connsiteY0" fmla="*/ 182701 h 398159"/>
                  <a:gd name="connsiteX1" fmla="*/ 414309 w 415524"/>
                  <a:gd name="connsiteY1" fmla="*/ 26729 h 398159"/>
                  <a:gd name="connsiteX2" fmla="*/ 409247 w 415524"/>
                  <a:gd name="connsiteY2" fmla="*/ 23224 h 398159"/>
                  <a:gd name="connsiteX3" fmla="*/ 78126 w 415524"/>
                  <a:gd name="connsiteY3" fmla="*/ 72335 h 398159"/>
                  <a:gd name="connsiteX4" fmla="*/ 57537 w 415524"/>
                  <a:gd name="connsiteY4" fmla="*/ 395133 h 398159"/>
                  <a:gd name="connsiteX5" fmla="*/ 191047 w 415524"/>
                  <a:gd name="connsiteY5" fmla="*/ 367195 h 398159"/>
                  <a:gd name="connsiteX6" fmla="*/ 322026 w 415524"/>
                  <a:gd name="connsiteY6" fmla="*/ 182676 h 3981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15524" h="398159">
                    <a:moveTo>
                      <a:pt x="322026" y="182701"/>
                    </a:moveTo>
                    <a:cubicBezTo>
                      <a:pt x="378559" y="109424"/>
                      <a:pt x="423582" y="42961"/>
                      <a:pt x="414309" y="26729"/>
                    </a:cubicBezTo>
                    <a:cubicBezTo>
                      <a:pt x="412824" y="24879"/>
                      <a:pt x="411145" y="23638"/>
                      <a:pt x="409247" y="23224"/>
                    </a:cubicBezTo>
                    <a:cubicBezTo>
                      <a:pt x="320565" y="4266"/>
                      <a:pt x="242445" y="-35962"/>
                      <a:pt x="78126" y="72335"/>
                    </a:cubicBezTo>
                    <a:cubicBezTo>
                      <a:pt x="-53145" y="158851"/>
                      <a:pt x="10398" y="339695"/>
                      <a:pt x="57537" y="395133"/>
                    </a:cubicBezTo>
                    <a:cubicBezTo>
                      <a:pt x="63767" y="402093"/>
                      <a:pt x="132080" y="398711"/>
                      <a:pt x="191047" y="367195"/>
                    </a:cubicBezTo>
                    <a:cubicBezTo>
                      <a:pt x="280703" y="319277"/>
                      <a:pt x="277295" y="240646"/>
                      <a:pt x="322026" y="182676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1180" name="Freeform: Shape 1179">
                <a:extLst>
                  <a:ext uri="{FF2B5EF4-FFF2-40B4-BE49-F238E27FC236}">
                    <a16:creationId xmlns:a16="http://schemas.microsoft.com/office/drawing/2014/main" id="{6E8079BE-B0BD-5EFD-1DF8-F178F8992C17}"/>
                  </a:ext>
                </a:extLst>
              </p:cNvPr>
              <p:cNvSpPr/>
              <p:nvPr/>
            </p:nvSpPr>
            <p:spPr>
              <a:xfrm>
                <a:off x="8236095" y="2536562"/>
                <a:ext cx="230408" cy="340490"/>
              </a:xfrm>
              <a:custGeom>
                <a:avLst/>
                <a:gdLst>
                  <a:gd name="connsiteX0" fmla="*/ 223262 w 230408"/>
                  <a:gd name="connsiteY0" fmla="*/ 0 h 340490"/>
                  <a:gd name="connsiteX1" fmla="*/ 130979 w 230408"/>
                  <a:gd name="connsiteY1" fmla="*/ 155972 h 340490"/>
                  <a:gd name="connsiteX2" fmla="*/ 0 w 230408"/>
                  <a:gd name="connsiteY2" fmla="*/ 340491 h 340490"/>
                  <a:gd name="connsiteX3" fmla="*/ 170184 w 230408"/>
                  <a:gd name="connsiteY3" fmla="*/ 209561 h 340490"/>
                  <a:gd name="connsiteX4" fmla="*/ 223262 w 230408"/>
                  <a:gd name="connsiteY4" fmla="*/ 0 h 3404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30408" h="340490">
                    <a:moveTo>
                      <a:pt x="223262" y="0"/>
                    </a:moveTo>
                    <a:cubicBezTo>
                      <a:pt x="232535" y="16232"/>
                      <a:pt x="187537" y="82695"/>
                      <a:pt x="130979" y="155972"/>
                    </a:cubicBezTo>
                    <a:cubicBezTo>
                      <a:pt x="86248" y="213917"/>
                      <a:pt x="89656" y="292572"/>
                      <a:pt x="0" y="340491"/>
                    </a:cubicBezTo>
                    <a:cubicBezTo>
                      <a:pt x="89656" y="292572"/>
                      <a:pt x="125454" y="267506"/>
                      <a:pt x="170184" y="209561"/>
                    </a:cubicBezTo>
                    <a:cubicBezTo>
                      <a:pt x="227983" y="134653"/>
                      <a:pt x="240493" y="21489"/>
                      <a:pt x="223262" y="0"/>
                    </a:cubicBezTo>
                    <a:close/>
                  </a:path>
                </a:pathLst>
              </a:custGeom>
              <a:solidFill>
                <a:schemeClr val="accent1">
                  <a:lumMod val="75000"/>
                </a:schemeClr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1181" name="Freeform: Shape 1180">
                <a:extLst>
                  <a:ext uri="{FF2B5EF4-FFF2-40B4-BE49-F238E27FC236}">
                    <a16:creationId xmlns:a16="http://schemas.microsoft.com/office/drawing/2014/main" id="{CB1FC99C-2540-9042-0038-FF4A414DDF3B}"/>
                  </a:ext>
                </a:extLst>
              </p:cNvPr>
              <p:cNvSpPr/>
              <p:nvPr/>
            </p:nvSpPr>
            <p:spPr>
              <a:xfrm>
                <a:off x="7434514" y="2946004"/>
                <a:ext cx="530766" cy="321857"/>
              </a:xfrm>
              <a:custGeom>
                <a:avLst/>
                <a:gdLst>
                  <a:gd name="connsiteX0" fmla="*/ 510444 w 530766"/>
                  <a:gd name="connsiteY0" fmla="*/ 321380 h 321857"/>
                  <a:gd name="connsiteX1" fmla="*/ 385404 w 530766"/>
                  <a:gd name="connsiteY1" fmla="*/ 44018 h 321857"/>
                  <a:gd name="connsiteX2" fmla="*/ 173214 w 530766"/>
                  <a:gd name="connsiteY2" fmla="*/ 18 h 321857"/>
                  <a:gd name="connsiteX3" fmla="*/ 3224 w 530766"/>
                  <a:gd name="connsiteY3" fmla="*/ 60251 h 321857"/>
                  <a:gd name="connsiteX4" fmla="*/ 510468 w 530766"/>
                  <a:gd name="connsiteY4" fmla="*/ 321405 h 3218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30766" h="321857">
                    <a:moveTo>
                      <a:pt x="510444" y="321380"/>
                    </a:moveTo>
                    <a:cubicBezTo>
                      <a:pt x="542714" y="334741"/>
                      <a:pt x="558022" y="63122"/>
                      <a:pt x="385404" y="44018"/>
                    </a:cubicBezTo>
                    <a:cubicBezTo>
                      <a:pt x="335611" y="38518"/>
                      <a:pt x="240578" y="797"/>
                      <a:pt x="173214" y="18"/>
                    </a:cubicBezTo>
                    <a:cubicBezTo>
                      <a:pt x="89911" y="-955"/>
                      <a:pt x="35641" y="37496"/>
                      <a:pt x="3224" y="60251"/>
                    </a:cubicBezTo>
                    <a:cubicBezTo>
                      <a:pt x="-42674" y="92448"/>
                      <a:pt x="415045" y="152364"/>
                      <a:pt x="510468" y="321405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</p:grpSp>
        <p:grpSp>
          <p:nvGrpSpPr>
            <p:cNvPr id="1182" name="Graphic 1147">
              <a:extLst>
                <a:ext uri="{FF2B5EF4-FFF2-40B4-BE49-F238E27FC236}">
                  <a16:creationId xmlns:a16="http://schemas.microsoft.com/office/drawing/2014/main" id="{3A2253FB-877D-F413-C320-0ED51D7DC475}"/>
                </a:ext>
              </a:extLst>
            </p:cNvPr>
            <p:cNvGrpSpPr/>
            <p:nvPr/>
          </p:nvGrpSpPr>
          <p:grpSpPr>
            <a:xfrm>
              <a:off x="3977886" y="4565653"/>
              <a:ext cx="278261" cy="174324"/>
              <a:chOff x="7750618" y="4142872"/>
              <a:chExt cx="567919" cy="355788"/>
            </a:xfrm>
          </p:grpSpPr>
          <p:sp>
            <p:nvSpPr>
              <p:cNvPr id="1183" name="Freeform: Shape 1182">
                <a:extLst>
                  <a:ext uri="{FF2B5EF4-FFF2-40B4-BE49-F238E27FC236}">
                    <a16:creationId xmlns:a16="http://schemas.microsoft.com/office/drawing/2014/main" id="{8E0AF0AB-4C4C-64E5-09A0-ACB281861D5C}"/>
                  </a:ext>
                </a:extLst>
              </p:cNvPr>
              <p:cNvSpPr/>
              <p:nvPr/>
            </p:nvSpPr>
            <p:spPr>
              <a:xfrm>
                <a:off x="7750618" y="4142872"/>
                <a:ext cx="567919" cy="349680"/>
              </a:xfrm>
              <a:custGeom>
                <a:avLst/>
                <a:gdLst>
                  <a:gd name="connsiteX0" fmla="*/ 281100 w 567919"/>
                  <a:gd name="connsiteY0" fmla="*/ 15 h 349680"/>
                  <a:gd name="connsiteX1" fmla="*/ 14 w 567919"/>
                  <a:gd name="connsiteY1" fmla="*/ 286819 h 349680"/>
                  <a:gd name="connsiteX2" fmla="*/ 6050 w 567919"/>
                  <a:gd name="connsiteY2" fmla="*/ 342379 h 349680"/>
                  <a:gd name="connsiteX3" fmla="*/ 7656 w 567919"/>
                  <a:gd name="connsiteY3" fmla="*/ 349680 h 349680"/>
                  <a:gd name="connsiteX4" fmla="*/ 560263 w 567919"/>
                  <a:gd name="connsiteY4" fmla="*/ 349680 h 349680"/>
                  <a:gd name="connsiteX5" fmla="*/ 561893 w 567919"/>
                  <a:gd name="connsiteY5" fmla="*/ 342379 h 349680"/>
                  <a:gd name="connsiteX6" fmla="*/ 567904 w 567919"/>
                  <a:gd name="connsiteY6" fmla="*/ 281100 h 349680"/>
                  <a:gd name="connsiteX7" fmla="*/ 281100 w 567919"/>
                  <a:gd name="connsiteY7" fmla="*/ 15 h 3496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567919" h="349680">
                    <a:moveTo>
                      <a:pt x="281100" y="15"/>
                    </a:moveTo>
                    <a:cubicBezTo>
                      <a:pt x="124301" y="1597"/>
                      <a:pt x="-1544" y="129995"/>
                      <a:pt x="14" y="286819"/>
                    </a:cubicBezTo>
                    <a:cubicBezTo>
                      <a:pt x="209" y="305850"/>
                      <a:pt x="2277" y="324443"/>
                      <a:pt x="6050" y="342379"/>
                    </a:cubicBezTo>
                    <a:cubicBezTo>
                      <a:pt x="6536" y="344837"/>
                      <a:pt x="7072" y="347271"/>
                      <a:pt x="7656" y="349680"/>
                    </a:cubicBezTo>
                    <a:lnTo>
                      <a:pt x="560263" y="349680"/>
                    </a:lnTo>
                    <a:cubicBezTo>
                      <a:pt x="560871" y="347271"/>
                      <a:pt x="561406" y="344837"/>
                      <a:pt x="561893" y="342379"/>
                    </a:cubicBezTo>
                    <a:cubicBezTo>
                      <a:pt x="566030" y="322618"/>
                      <a:pt x="568123" y="302127"/>
                      <a:pt x="567904" y="281100"/>
                    </a:cubicBezTo>
                    <a:cubicBezTo>
                      <a:pt x="566322" y="124276"/>
                      <a:pt x="437924" y="-1567"/>
                      <a:pt x="281100" y="15"/>
                    </a:cubicBezTo>
                    <a:close/>
                  </a:path>
                </a:pathLst>
              </a:custGeom>
              <a:solidFill>
                <a:srgbClr val="ED8B00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4400"/>
                <a:endParaRPr lang="en-GB" sz="1800"/>
              </a:p>
            </p:txBody>
          </p:sp>
          <p:sp>
            <p:nvSpPr>
              <p:cNvPr id="1184" name="Freeform: Shape 1183">
                <a:extLst>
                  <a:ext uri="{FF2B5EF4-FFF2-40B4-BE49-F238E27FC236}">
                    <a16:creationId xmlns:a16="http://schemas.microsoft.com/office/drawing/2014/main" id="{6F49165B-049C-D1A3-57FC-15838BD5C268}"/>
                  </a:ext>
                </a:extLst>
              </p:cNvPr>
              <p:cNvSpPr/>
              <p:nvPr/>
            </p:nvSpPr>
            <p:spPr>
              <a:xfrm>
                <a:off x="7793209" y="4187933"/>
                <a:ext cx="482737" cy="310727"/>
              </a:xfrm>
              <a:custGeom>
                <a:avLst/>
                <a:gdLst>
                  <a:gd name="connsiteX0" fmla="*/ 469802 w 482737"/>
                  <a:gd name="connsiteY0" fmla="*/ 310703 h 310727"/>
                  <a:gd name="connsiteX1" fmla="*/ 457415 w 482737"/>
                  <a:gd name="connsiteY1" fmla="*/ 310703 h 310727"/>
                  <a:gd name="connsiteX2" fmla="*/ 453764 w 482737"/>
                  <a:gd name="connsiteY2" fmla="*/ 307053 h 310727"/>
                  <a:gd name="connsiteX3" fmla="*/ 457415 w 482737"/>
                  <a:gd name="connsiteY3" fmla="*/ 303402 h 310727"/>
                  <a:gd name="connsiteX4" fmla="*/ 467052 w 482737"/>
                  <a:gd name="connsiteY4" fmla="*/ 303402 h 310727"/>
                  <a:gd name="connsiteX5" fmla="*/ 468244 w 482737"/>
                  <a:gd name="connsiteY5" fmla="*/ 298875 h 310727"/>
                  <a:gd name="connsiteX6" fmla="*/ 475423 w 482737"/>
                  <a:gd name="connsiteY6" fmla="*/ 238984 h 310727"/>
                  <a:gd name="connsiteX7" fmla="*/ 241380 w 482737"/>
                  <a:gd name="connsiteY7" fmla="*/ 7301 h 310727"/>
                  <a:gd name="connsiteX8" fmla="*/ 238995 w 482737"/>
                  <a:gd name="connsiteY8" fmla="*/ 7301 h 310727"/>
                  <a:gd name="connsiteX9" fmla="*/ 74214 w 482737"/>
                  <a:gd name="connsiteY9" fmla="*/ 77512 h 310727"/>
                  <a:gd name="connsiteX10" fmla="*/ 7337 w 482737"/>
                  <a:gd name="connsiteY10" fmla="*/ 243705 h 310727"/>
                  <a:gd name="connsiteX11" fmla="*/ 14419 w 482737"/>
                  <a:gd name="connsiteY11" fmla="*/ 298875 h 310727"/>
                  <a:gd name="connsiteX12" fmla="*/ 15587 w 482737"/>
                  <a:gd name="connsiteY12" fmla="*/ 303426 h 310727"/>
                  <a:gd name="connsiteX13" fmla="*/ 25224 w 482737"/>
                  <a:gd name="connsiteY13" fmla="*/ 303426 h 310727"/>
                  <a:gd name="connsiteX14" fmla="*/ 28875 w 482737"/>
                  <a:gd name="connsiteY14" fmla="*/ 307077 h 310727"/>
                  <a:gd name="connsiteX15" fmla="*/ 25224 w 482737"/>
                  <a:gd name="connsiteY15" fmla="*/ 310727 h 310727"/>
                  <a:gd name="connsiteX16" fmla="*/ 12813 w 482737"/>
                  <a:gd name="connsiteY16" fmla="*/ 310727 h 310727"/>
                  <a:gd name="connsiteX17" fmla="*/ 9309 w 482737"/>
                  <a:gd name="connsiteY17" fmla="*/ 308099 h 310727"/>
                  <a:gd name="connsiteX18" fmla="*/ 7313 w 482737"/>
                  <a:gd name="connsiteY18" fmla="*/ 300652 h 310727"/>
                  <a:gd name="connsiteX19" fmla="*/ 12 w 482737"/>
                  <a:gd name="connsiteY19" fmla="*/ 243778 h 310727"/>
                  <a:gd name="connsiteX20" fmla="*/ 68981 w 482737"/>
                  <a:gd name="connsiteY20" fmla="*/ 72401 h 310727"/>
                  <a:gd name="connsiteX21" fmla="*/ 238922 w 482737"/>
                  <a:gd name="connsiteY21" fmla="*/ 0 h 310727"/>
                  <a:gd name="connsiteX22" fmla="*/ 241380 w 482737"/>
                  <a:gd name="connsiteY22" fmla="*/ 0 h 310727"/>
                  <a:gd name="connsiteX23" fmla="*/ 482724 w 482737"/>
                  <a:gd name="connsiteY23" fmla="*/ 238911 h 310727"/>
                  <a:gd name="connsiteX24" fmla="*/ 475327 w 482737"/>
                  <a:gd name="connsiteY24" fmla="*/ 300676 h 310727"/>
                  <a:gd name="connsiteX25" fmla="*/ 473282 w 482737"/>
                  <a:gd name="connsiteY25" fmla="*/ 308123 h 310727"/>
                  <a:gd name="connsiteX26" fmla="*/ 469778 w 482737"/>
                  <a:gd name="connsiteY26" fmla="*/ 310727 h 3107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482737" h="310727">
                    <a:moveTo>
                      <a:pt x="469802" y="310703"/>
                    </a:moveTo>
                    <a:lnTo>
                      <a:pt x="457415" y="310703"/>
                    </a:lnTo>
                    <a:cubicBezTo>
                      <a:pt x="455395" y="310703"/>
                      <a:pt x="453764" y="309072"/>
                      <a:pt x="453764" y="307053"/>
                    </a:cubicBezTo>
                    <a:cubicBezTo>
                      <a:pt x="453764" y="305033"/>
                      <a:pt x="455395" y="303402"/>
                      <a:pt x="457415" y="303402"/>
                    </a:cubicBezTo>
                    <a:lnTo>
                      <a:pt x="467052" y="303402"/>
                    </a:lnTo>
                    <a:cubicBezTo>
                      <a:pt x="467465" y="301966"/>
                      <a:pt x="467855" y="300457"/>
                      <a:pt x="468244" y="298875"/>
                    </a:cubicBezTo>
                    <a:cubicBezTo>
                      <a:pt x="473209" y="279431"/>
                      <a:pt x="475618" y="259280"/>
                      <a:pt x="475423" y="238984"/>
                    </a:cubicBezTo>
                    <a:cubicBezTo>
                      <a:pt x="474110" y="110731"/>
                      <a:pt x="369366" y="7301"/>
                      <a:pt x="241380" y="7301"/>
                    </a:cubicBezTo>
                    <a:cubicBezTo>
                      <a:pt x="240577" y="7301"/>
                      <a:pt x="239799" y="7301"/>
                      <a:pt x="238995" y="7301"/>
                    </a:cubicBezTo>
                    <a:cubicBezTo>
                      <a:pt x="176500" y="7934"/>
                      <a:pt x="117970" y="32854"/>
                      <a:pt x="74214" y="77512"/>
                    </a:cubicBezTo>
                    <a:cubicBezTo>
                      <a:pt x="30457" y="122144"/>
                      <a:pt x="6704" y="181160"/>
                      <a:pt x="7337" y="243705"/>
                    </a:cubicBezTo>
                    <a:cubicBezTo>
                      <a:pt x="7532" y="262444"/>
                      <a:pt x="9917" y="280988"/>
                      <a:pt x="14419" y="298875"/>
                    </a:cubicBezTo>
                    <a:cubicBezTo>
                      <a:pt x="14808" y="300409"/>
                      <a:pt x="15174" y="301917"/>
                      <a:pt x="15587" y="303426"/>
                    </a:cubicBezTo>
                    <a:lnTo>
                      <a:pt x="25224" y="303426"/>
                    </a:lnTo>
                    <a:cubicBezTo>
                      <a:pt x="27244" y="303426"/>
                      <a:pt x="28875" y="305057"/>
                      <a:pt x="28875" y="307077"/>
                    </a:cubicBezTo>
                    <a:cubicBezTo>
                      <a:pt x="28875" y="309097"/>
                      <a:pt x="27244" y="310727"/>
                      <a:pt x="25224" y="310727"/>
                    </a:cubicBezTo>
                    <a:lnTo>
                      <a:pt x="12813" y="310727"/>
                    </a:lnTo>
                    <a:cubicBezTo>
                      <a:pt x="11182" y="310727"/>
                      <a:pt x="9771" y="309657"/>
                      <a:pt x="9309" y="308099"/>
                    </a:cubicBezTo>
                    <a:cubicBezTo>
                      <a:pt x="8676" y="305933"/>
                      <a:pt x="8043" y="303572"/>
                      <a:pt x="7313" y="300652"/>
                    </a:cubicBezTo>
                    <a:cubicBezTo>
                      <a:pt x="2664" y="282229"/>
                      <a:pt x="206" y="263101"/>
                      <a:pt x="12" y="243778"/>
                    </a:cubicBezTo>
                    <a:cubicBezTo>
                      <a:pt x="-621" y="179311"/>
                      <a:pt x="23862" y="118445"/>
                      <a:pt x="68981" y="72401"/>
                    </a:cubicBezTo>
                    <a:cubicBezTo>
                      <a:pt x="114101" y="26356"/>
                      <a:pt x="174455" y="633"/>
                      <a:pt x="238922" y="0"/>
                    </a:cubicBezTo>
                    <a:cubicBezTo>
                      <a:pt x="239726" y="0"/>
                      <a:pt x="240577" y="0"/>
                      <a:pt x="241380" y="0"/>
                    </a:cubicBezTo>
                    <a:cubicBezTo>
                      <a:pt x="373357" y="0"/>
                      <a:pt x="481362" y="106667"/>
                      <a:pt x="482724" y="238911"/>
                    </a:cubicBezTo>
                    <a:cubicBezTo>
                      <a:pt x="482944" y="259864"/>
                      <a:pt x="480461" y="280623"/>
                      <a:pt x="475327" y="300676"/>
                    </a:cubicBezTo>
                    <a:cubicBezTo>
                      <a:pt x="474669" y="303329"/>
                      <a:pt x="473988" y="305787"/>
                      <a:pt x="473282" y="308123"/>
                    </a:cubicBezTo>
                    <a:cubicBezTo>
                      <a:pt x="472820" y="309657"/>
                      <a:pt x="471408" y="310727"/>
                      <a:pt x="469778" y="310727"/>
                    </a:cubicBezTo>
                    <a:close/>
                  </a:path>
                </a:pathLst>
              </a:custGeom>
              <a:solidFill>
                <a:schemeClr val="bg1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1185" name="Freeform: Shape 1184">
                <a:extLst>
                  <a:ext uri="{FF2B5EF4-FFF2-40B4-BE49-F238E27FC236}">
                    <a16:creationId xmlns:a16="http://schemas.microsoft.com/office/drawing/2014/main" id="{418A1B1E-CDA0-9C7E-1735-BAA514AA8DDC}"/>
                  </a:ext>
                </a:extLst>
              </p:cNvPr>
              <p:cNvSpPr/>
              <p:nvPr/>
            </p:nvSpPr>
            <p:spPr>
              <a:xfrm>
                <a:off x="7993119" y="4291338"/>
                <a:ext cx="59333" cy="201214"/>
              </a:xfrm>
              <a:custGeom>
                <a:avLst/>
                <a:gdLst>
                  <a:gd name="connsiteX0" fmla="*/ 59260 w 59333"/>
                  <a:gd name="connsiteY0" fmla="*/ 193913 h 201214"/>
                  <a:gd name="connsiteX1" fmla="*/ 57460 w 59333"/>
                  <a:gd name="connsiteY1" fmla="*/ 13094 h 201214"/>
                  <a:gd name="connsiteX2" fmla="*/ 43660 w 59333"/>
                  <a:gd name="connsiteY2" fmla="*/ 1 h 201214"/>
                  <a:gd name="connsiteX3" fmla="*/ 5452 w 59333"/>
                  <a:gd name="connsiteY3" fmla="*/ 23461 h 201214"/>
                  <a:gd name="connsiteX4" fmla="*/ 1 w 59333"/>
                  <a:gd name="connsiteY4" fmla="*/ 34607 h 201214"/>
                  <a:gd name="connsiteX5" fmla="*/ 13386 w 59333"/>
                  <a:gd name="connsiteY5" fmla="*/ 48138 h 201214"/>
                  <a:gd name="connsiteX6" fmla="*/ 30811 w 59333"/>
                  <a:gd name="connsiteY6" fmla="*/ 39426 h 201214"/>
                  <a:gd name="connsiteX7" fmla="*/ 32344 w 59333"/>
                  <a:gd name="connsiteY7" fmla="*/ 193913 h 201214"/>
                  <a:gd name="connsiteX8" fmla="*/ 32417 w 59333"/>
                  <a:gd name="connsiteY8" fmla="*/ 201214 h 201214"/>
                  <a:gd name="connsiteX9" fmla="*/ 59334 w 59333"/>
                  <a:gd name="connsiteY9" fmla="*/ 201214 h 201214"/>
                  <a:gd name="connsiteX10" fmla="*/ 59260 w 59333"/>
                  <a:gd name="connsiteY10" fmla="*/ 193913 h 2012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59333" h="201214">
                    <a:moveTo>
                      <a:pt x="59260" y="193913"/>
                    </a:moveTo>
                    <a:lnTo>
                      <a:pt x="57460" y="13094"/>
                    </a:lnTo>
                    <a:cubicBezTo>
                      <a:pt x="57386" y="5841"/>
                      <a:pt x="51327" y="-72"/>
                      <a:pt x="43660" y="1"/>
                    </a:cubicBezTo>
                    <a:cubicBezTo>
                      <a:pt x="36822" y="74"/>
                      <a:pt x="11367" y="18691"/>
                      <a:pt x="5452" y="23461"/>
                    </a:cubicBezTo>
                    <a:cubicBezTo>
                      <a:pt x="1632" y="26041"/>
                      <a:pt x="-48" y="30762"/>
                      <a:pt x="1" y="34607"/>
                    </a:cubicBezTo>
                    <a:cubicBezTo>
                      <a:pt x="74" y="42297"/>
                      <a:pt x="5696" y="48211"/>
                      <a:pt x="13386" y="48138"/>
                    </a:cubicBezTo>
                    <a:cubicBezTo>
                      <a:pt x="16794" y="48114"/>
                      <a:pt x="24021" y="43757"/>
                      <a:pt x="30811" y="39426"/>
                    </a:cubicBezTo>
                    <a:lnTo>
                      <a:pt x="32344" y="193913"/>
                    </a:lnTo>
                    <a:lnTo>
                      <a:pt x="32417" y="201214"/>
                    </a:lnTo>
                    <a:lnTo>
                      <a:pt x="59334" y="201214"/>
                    </a:lnTo>
                    <a:lnTo>
                      <a:pt x="59260" y="193913"/>
                    </a:lnTo>
                    <a:close/>
                  </a:path>
                </a:pathLst>
              </a:custGeom>
              <a:solidFill>
                <a:schemeClr val="bg1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</p:grpSp>
        <p:sp>
          <p:nvSpPr>
            <p:cNvPr id="1186" name="Freeform: Shape 1185">
              <a:extLst>
                <a:ext uri="{FF2B5EF4-FFF2-40B4-BE49-F238E27FC236}">
                  <a16:creationId xmlns:a16="http://schemas.microsoft.com/office/drawing/2014/main" id="{5B951B90-0262-F491-7D23-F8C9D2DA7C61}"/>
                </a:ext>
              </a:extLst>
            </p:cNvPr>
            <p:cNvSpPr/>
            <p:nvPr/>
          </p:nvSpPr>
          <p:spPr>
            <a:xfrm>
              <a:off x="3819650" y="4643558"/>
              <a:ext cx="302966" cy="96585"/>
            </a:xfrm>
            <a:custGeom>
              <a:avLst/>
              <a:gdLst>
                <a:gd name="connsiteX0" fmla="*/ 618339 w 618339"/>
                <a:gd name="connsiteY0" fmla="*/ 197127 h 197126"/>
                <a:gd name="connsiteX1" fmla="*/ 24799 w 618339"/>
                <a:gd name="connsiteY1" fmla="*/ 197127 h 197126"/>
                <a:gd name="connsiteX2" fmla="*/ 0 w 618339"/>
                <a:gd name="connsiteY2" fmla="*/ 194425 h 197126"/>
                <a:gd name="connsiteX3" fmla="*/ 6887 w 618339"/>
                <a:gd name="connsiteY3" fmla="*/ 187587 h 197126"/>
                <a:gd name="connsiteX4" fmla="*/ 17546 w 618339"/>
                <a:gd name="connsiteY4" fmla="*/ 176660 h 197126"/>
                <a:gd name="connsiteX5" fmla="*/ 19663 w 618339"/>
                <a:gd name="connsiteY5" fmla="*/ 174397 h 197126"/>
                <a:gd name="connsiteX6" fmla="*/ 217884 w 618339"/>
                <a:gd name="connsiteY6" fmla="*/ 41276 h 197126"/>
                <a:gd name="connsiteX7" fmla="*/ 393958 w 618339"/>
                <a:gd name="connsiteY7" fmla="*/ 12900 h 197126"/>
                <a:gd name="connsiteX8" fmla="*/ 536885 w 618339"/>
                <a:gd name="connsiteY8" fmla="*/ 64761 h 197126"/>
                <a:gd name="connsiteX9" fmla="*/ 540633 w 618339"/>
                <a:gd name="connsiteY9" fmla="*/ 79241 h 197126"/>
                <a:gd name="connsiteX10" fmla="*/ 615979 w 618339"/>
                <a:gd name="connsiteY10" fmla="*/ 187587 h 197126"/>
                <a:gd name="connsiteX11" fmla="*/ 618315 w 618339"/>
                <a:gd name="connsiteY11" fmla="*/ 197127 h 1971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618339" h="197126">
                  <a:moveTo>
                    <a:pt x="618339" y="197127"/>
                  </a:moveTo>
                  <a:lnTo>
                    <a:pt x="24799" y="197127"/>
                  </a:lnTo>
                  <a:cubicBezTo>
                    <a:pt x="16694" y="196518"/>
                    <a:pt x="8420" y="195666"/>
                    <a:pt x="0" y="194425"/>
                  </a:cubicBezTo>
                  <a:cubicBezTo>
                    <a:pt x="0" y="194425"/>
                    <a:pt x="3018" y="191456"/>
                    <a:pt x="6887" y="187587"/>
                  </a:cubicBezTo>
                  <a:cubicBezTo>
                    <a:pt x="10343" y="184131"/>
                    <a:pt x="14480" y="179945"/>
                    <a:pt x="17546" y="176660"/>
                  </a:cubicBezTo>
                  <a:cubicBezTo>
                    <a:pt x="18252" y="175930"/>
                    <a:pt x="18934" y="175151"/>
                    <a:pt x="19663" y="174397"/>
                  </a:cubicBezTo>
                  <a:cubicBezTo>
                    <a:pt x="139107" y="45414"/>
                    <a:pt x="103624" y="134120"/>
                    <a:pt x="217884" y="41276"/>
                  </a:cubicBezTo>
                  <a:cubicBezTo>
                    <a:pt x="311384" y="-34653"/>
                    <a:pt x="352172" y="18522"/>
                    <a:pt x="393958" y="12900"/>
                  </a:cubicBezTo>
                  <a:cubicBezTo>
                    <a:pt x="479890" y="1389"/>
                    <a:pt x="523476" y="28548"/>
                    <a:pt x="536885" y="64761"/>
                  </a:cubicBezTo>
                  <a:cubicBezTo>
                    <a:pt x="538662" y="69458"/>
                    <a:pt x="539830" y="74325"/>
                    <a:pt x="540633" y="79241"/>
                  </a:cubicBezTo>
                  <a:cubicBezTo>
                    <a:pt x="549029" y="134704"/>
                    <a:pt x="592275" y="97347"/>
                    <a:pt x="615979" y="187587"/>
                  </a:cubicBezTo>
                  <a:cubicBezTo>
                    <a:pt x="616806" y="190604"/>
                    <a:pt x="617585" y="193793"/>
                    <a:pt x="618315" y="197127"/>
                  </a:cubicBezTo>
                  <a:close/>
                </a:path>
              </a:pathLst>
            </a:custGeom>
            <a:solidFill>
              <a:schemeClr val="tx2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</p:grpSp>
      <p:grpSp>
        <p:nvGrpSpPr>
          <p:cNvPr id="1362" name="Group 1361">
            <a:extLst>
              <a:ext uri="{FF2B5EF4-FFF2-40B4-BE49-F238E27FC236}">
                <a16:creationId xmlns:a16="http://schemas.microsoft.com/office/drawing/2014/main" id="{6BFE17C3-E202-C084-F99D-6DC73829A39A}"/>
              </a:ext>
            </a:extLst>
          </p:cNvPr>
          <p:cNvGrpSpPr/>
          <p:nvPr/>
        </p:nvGrpSpPr>
        <p:grpSpPr>
          <a:xfrm>
            <a:off x="3372564" y="1508813"/>
            <a:ext cx="1177846" cy="1003402"/>
            <a:chOff x="3372564" y="1508813"/>
            <a:chExt cx="1177846" cy="1003402"/>
          </a:xfrm>
        </p:grpSpPr>
        <p:grpSp>
          <p:nvGrpSpPr>
            <p:cNvPr id="1194" name="Graphic 1191">
              <a:extLst>
                <a:ext uri="{FF2B5EF4-FFF2-40B4-BE49-F238E27FC236}">
                  <a16:creationId xmlns:a16="http://schemas.microsoft.com/office/drawing/2014/main" id="{D821CACF-D82F-6FD8-F67E-8BD5B1374BF9}"/>
                </a:ext>
              </a:extLst>
            </p:cNvPr>
            <p:cNvGrpSpPr/>
            <p:nvPr/>
          </p:nvGrpSpPr>
          <p:grpSpPr>
            <a:xfrm>
              <a:off x="4069770" y="1508813"/>
              <a:ext cx="480640" cy="1003402"/>
              <a:chOff x="4772865" y="2396681"/>
              <a:chExt cx="2084325" cy="4351318"/>
            </a:xfrm>
          </p:grpSpPr>
          <p:sp>
            <p:nvSpPr>
              <p:cNvPr id="1195" name="Freeform: Shape 1194">
                <a:extLst>
                  <a:ext uri="{FF2B5EF4-FFF2-40B4-BE49-F238E27FC236}">
                    <a16:creationId xmlns:a16="http://schemas.microsoft.com/office/drawing/2014/main" id="{E9F6AC60-364F-DB10-1FBF-F8252F128EA1}"/>
                  </a:ext>
                </a:extLst>
              </p:cNvPr>
              <p:cNvSpPr/>
              <p:nvPr/>
            </p:nvSpPr>
            <p:spPr>
              <a:xfrm>
                <a:off x="4772865" y="2396681"/>
                <a:ext cx="2084325" cy="4351318"/>
              </a:xfrm>
              <a:custGeom>
                <a:avLst/>
                <a:gdLst>
                  <a:gd name="connsiteX0" fmla="*/ 0 w 2084325"/>
                  <a:gd name="connsiteY0" fmla="*/ 0 h 4351318"/>
                  <a:gd name="connsiteX1" fmla="*/ 2084326 w 2084325"/>
                  <a:gd name="connsiteY1" fmla="*/ 0 h 4351318"/>
                  <a:gd name="connsiteX2" fmla="*/ 2084326 w 2084325"/>
                  <a:gd name="connsiteY2" fmla="*/ 4351318 h 4351318"/>
                  <a:gd name="connsiteX3" fmla="*/ 0 w 2084325"/>
                  <a:gd name="connsiteY3" fmla="*/ 4351318 h 43513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084325" h="4351318">
                    <a:moveTo>
                      <a:pt x="0" y="0"/>
                    </a:moveTo>
                    <a:lnTo>
                      <a:pt x="2084326" y="0"/>
                    </a:lnTo>
                    <a:lnTo>
                      <a:pt x="2084326" y="4351318"/>
                    </a:lnTo>
                    <a:lnTo>
                      <a:pt x="0" y="4351318"/>
                    </a:lnTo>
                    <a:close/>
                  </a:path>
                </a:pathLst>
              </a:custGeom>
              <a:solidFill>
                <a:schemeClr val="tx2">
                  <a:lumMod val="60000"/>
                  <a:lumOff val="40000"/>
                </a:schemeClr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1196" name="Freeform: Shape 1195">
                <a:extLst>
                  <a:ext uri="{FF2B5EF4-FFF2-40B4-BE49-F238E27FC236}">
                    <a16:creationId xmlns:a16="http://schemas.microsoft.com/office/drawing/2014/main" id="{D16D58BB-71D2-1D7B-766E-BA38E9477757}"/>
                  </a:ext>
                </a:extLst>
              </p:cNvPr>
              <p:cNvSpPr/>
              <p:nvPr/>
            </p:nvSpPr>
            <p:spPr>
              <a:xfrm>
                <a:off x="4953084" y="2541015"/>
                <a:ext cx="1723866" cy="4206984"/>
              </a:xfrm>
              <a:custGeom>
                <a:avLst/>
                <a:gdLst>
                  <a:gd name="connsiteX0" fmla="*/ 0 w 1723865"/>
                  <a:gd name="connsiteY0" fmla="*/ 0 h 4206985"/>
                  <a:gd name="connsiteX1" fmla="*/ 1723865 w 1723865"/>
                  <a:gd name="connsiteY1" fmla="*/ 0 h 4206985"/>
                  <a:gd name="connsiteX2" fmla="*/ 1723865 w 1723865"/>
                  <a:gd name="connsiteY2" fmla="*/ 4206985 h 4206985"/>
                  <a:gd name="connsiteX3" fmla="*/ 0 w 1723865"/>
                  <a:gd name="connsiteY3" fmla="*/ 4206985 h 42069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723865" h="4206985">
                    <a:moveTo>
                      <a:pt x="0" y="0"/>
                    </a:moveTo>
                    <a:lnTo>
                      <a:pt x="1723865" y="0"/>
                    </a:lnTo>
                    <a:lnTo>
                      <a:pt x="1723865" y="4206985"/>
                    </a:lnTo>
                    <a:lnTo>
                      <a:pt x="0" y="4206985"/>
                    </a:lnTo>
                    <a:close/>
                  </a:path>
                </a:pathLst>
              </a:custGeom>
              <a:solidFill>
                <a:schemeClr val="tx2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1197" name="Freeform: Shape 1196">
                <a:extLst>
                  <a:ext uri="{FF2B5EF4-FFF2-40B4-BE49-F238E27FC236}">
                    <a16:creationId xmlns:a16="http://schemas.microsoft.com/office/drawing/2014/main" id="{67E18218-7A7C-66C2-D8A3-484E36584FA7}"/>
                  </a:ext>
                </a:extLst>
              </p:cNvPr>
              <p:cNvSpPr/>
              <p:nvPr/>
            </p:nvSpPr>
            <p:spPr>
              <a:xfrm>
                <a:off x="5220216" y="2964775"/>
                <a:ext cx="1189606" cy="396536"/>
              </a:xfrm>
              <a:custGeom>
                <a:avLst/>
                <a:gdLst>
                  <a:gd name="connsiteX0" fmla="*/ 0 w 1403186"/>
                  <a:gd name="connsiteY0" fmla="*/ 0 h 625542"/>
                  <a:gd name="connsiteX1" fmla="*/ 1403187 w 1403186"/>
                  <a:gd name="connsiteY1" fmla="*/ 0 h 625542"/>
                  <a:gd name="connsiteX2" fmla="*/ 1403187 w 1403186"/>
                  <a:gd name="connsiteY2" fmla="*/ 625542 h 625542"/>
                  <a:gd name="connsiteX3" fmla="*/ 0 w 1403186"/>
                  <a:gd name="connsiteY3" fmla="*/ 625542 h 6255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403186" h="625542">
                    <a:moveTo>
                      <a:pt x="0" y="0"/>
                    </a:moveTo>
                    <a:lnTo>
                      <a:pt x="1403187" y="0"/>
                    </a:lnTo>
                    <a:lnTo>
                      <a:pt x="1403187" y="625542"/>
                    </a:lnTo>
                    <a:lnTo>
                      <a:pt x="0" y="625542"/>
                    </a:lnTo>
                    <a:close/>
                  </a:path>
                </a:pathLst>
              </a:custGeom>
              <a:solidFill>
                <a:schemeClr val="tx2">
                  <a:lumMod val="20000"/>
                  <a:lumOff val="80000"/>
                </a:schemeClr>
              </a:solidFill>
              <a:ln w="1209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1203" name="Freeform: Shape 1202">
                <a:extLst>
                  <a:ext uri="{FF2B5EF4-FFF2-40B4-BE49-F238E27FC236}">
                    <a16:creationId xmlns:a16="http://schemas.microsoft.com/office/drawing/2014/main" id="{B4DFD74C-8AD9-9B37-9CAB-6C0536F2068A}"/>
                  </a:ext>
                </a:extLst>
              </p:cNvPr>
              <p:cNvSpPr/>
              <p:nvPr/>
            </p:nvSpPr>
            <p:spPr>
              <a:xfrm>
                <a:off x="5170255" y="4456848"/>
                <a:ext cx="2128" cy="386768"/>
              </a:xfrm>
              <a:custGeom>
                <a:avLst/>
                <a:gdLst>
                  <a:gd name="connsiteX0" fmla="*/ 0 w 2128"/>
                  <a:gd name="connsiteY0" fmla="*/ 0 h 386768"/>
                  <a:gd name="connsiteX1" fmla="*/ 0 w 2128"/>
                  <a:gd name="connsiteY1" fmla="*/ 386768 h 3867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128" h="386768">
                    <a:moveTo>
                      <a:pt x="0" y="0"/>
                    </a:moveTo>
                    <a:lnTo>
                      <a:pt x="0" y="386768"/>
                    </a:lnTo>
                  </a:path>
                </a:pathLst>
              </a:custGeom>
              <a:ln w="12090" cap="flat">
                <a:solidFill>
                  <a:srgbClr val="000000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1204" name="Freeform: Shape 1203">
                <a:extLst>
                  <a:ext uri="{FF2B5EF4-FFF2-40B4-BE49-F238E27FC236}">
                    <a16:creationId xmlns:a16="http://schemas.microsoft.com/office/drawing/2014/main" id="{2EF2AF06-405A-58F9-3211-2D74DD2621A2}"/>
                  </a:ext>
                </a:extLst>
              </p:cNvPr>
              <p:cNvSpPr/>
              <p:nvPr/>
            </p:nvSpPr>
            <p:spPr>
              <a:xfrm>
                <a:off x="5085647" y="4438032"/>
                <a:ext cx="80584" cy="424378"/>
              </a:xfrm>
              <a:custGeom>
                <a:avLst/>
                <a:gdLst>
                  <a:gd name="connsiteX0" fmla="*/ 67345 w 80584"/>
                  <a:gd name="connsiteY0" fmla="*/ 0 h 424378"/>
                  <a:gd name="connsiteX1" fmla="*/ 80585 w 80584"/>
                  <a:gd name="connsiteY1" fmla="*/ 13239 h 424378"/>
                  <a:gd name="connsiteX2" fmla="*/ 80585 w 80584"/>
                  <a:gd name="connsiteY2" fmla="*/ 411139 h 424378"/>
                  <a:gd name="connsiteX3" fmla="*/ 67345 w 80584"/>
                  <a:gd name="connsiteY3" fmla="*/ 424379 h 424378"/>
                  <a:gd name="connsiteX4" fmla="*/ 13239 w 80584"/>
                  <a:gd name="connsiteY4" fmla="*/ 424379 h 424378"/>
                  <a:gd name="connsiteX5" fmla="*/ 0 w 80584"/>
                  <a:gd name="connsiteY5" fmla="*/ 411139 h 424378"/>
                  <a:gd name="connsiteX6" fmla="*/ 0 w 80584"/>
                  <a:gd name="connsiteY6" fmla="*/ 13239 h 424378"/>
                  <a:gd name="connsiteX7" fmla="*/ 13239 w 80584"/>
                  <a:gd name="connsiteY7" fmla="*/ 0 h 4243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80584" h="424378">
                    <a:moveTo>
                      <a:pt x="67345" y="0"/>
                    </a:moveTo>
                    <a:cubicBezTo>
                      <a:pt x="74657" y="0"/>
                      <a:pt x="80585" y="5927"/>
                      <a:pt x="80585" y="13239"/>
                    </a:cubicBezTo>
                    <a:lnTo>
                      <a:pt x="80585" y="411139"/>
                    </a:lnTo>
                    <a:cubicBezTo>
                      <a:pt x="80585" y="418451"/>
                      <a:pt x="74657" y="424379"/>
                      <a:pt x="67345" y="424379"/>
                    </a:cubicBezTo>
                    <a:lnTo>
                      <a:pt x="13239" y="424379"/>
                    </a:lnTo>
                    <a:cubicBezTo>
                      <a:pt x="5927" y="424379"/>
                      <a:pt x="0" y="418451"/>
                      <a:pt x="0" y="411139"/>
                    </a:cubicBezTo>
                    <a:lnTo>
                      <a:pt x="0" y="13239"/>
                    </a:lnTo>
                    <a:cubicBezTo>
                      <a:pt x="0" y="5927"/>
                      <a:pt x="5927" y="0"/>
                      <a:pt x="13239" y="0"/>
                    </a:cubicBezTo>
                    <a:close/>
                  </a:path>
                </a:pathLst>
              </a:custGeom>
              <a:solidFill>
                <a:srgbClr val="CCCACA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</p:grpSp>
        <p:grpSp>
          <p:nvGrpSpPr>
            <p:cNvPr id="1205" name="Graphic 1191">
              <a:extLst>
                <a:ext uri="{FF2B5EF4-FFF2-40B4-BE49-F238E27FC236}">
                  <a16:creationId xmlns:a16="http://schemas.microsoft.com/office/drawing/2014/main" id="{E3E13A5D-73D9-7FF5-781E-6260461D87B0}"/>
                </a:ext>
              </a:extLst>
            </p:cNvPr>
            <p:cNvGrpSpPr/>
            <p:nvPr/>
          </p:nvGrpSpPr>
          <p:grpSpPr>
            <a:xfrm>
              <a:off x="3646042" y="1596217"/>
              <a:ext cx="252521" cy="915998"/>
              <a:chOff x="1562500" y="2775712"/>
              <a:chExt cx="1095074" cy="3972286"/>
            </a:xfrm>
          </p:grpSpPr>
          <p:grpSp>
            <p:nvGrpSpPr>
              <p:cNvPr id="1206" name="Graphic 1191">
                <a:extLst>
                  <a:ext uri="{FF2B5EF4-FFF2-40B4-BE49-F238E27FC236}">
                    <a16:creationId xmlns:a16="http://schemas.microsoft.com/office/drawing/2014/main" id="{7F2FCD9E-EC25-A540-7AFB-04A4184FD173}"/>
                  </a:ext>
                </a:extLst>
              </p:cNvPr>
              <p:cNvGrpSpPr/>
              <p:nvPr/>
            </p:nvGrpSpPr>
            <p:grpSpPr>
              <a:xfrm>
                <a:off x="2447461" y="4628933"/>
                <a:ext cx="167064" cy="324554"/>
                <a:chOff x="2447461" y="4628933"/>
                <a:chExt cx="167064" cy="324554"/>
              </a:xfrm>
              <a:solidFill>
                <a:srgbClr val="FFB4B2"/>
              </a:solidFill>
            </p:grpSpPr>
            <p:sp>
              <p:nvSpPr>
                <p:cNvPr id="1207" name="Freeform: Shape 1206">
                  <a:extLst>
                    <a:ext uri="{FF2B5EF4-FFF2-40B4-BE49-F238E27FC236}">
                      <a16:creationId xmlns:a16="http://schemas.microsoft.com/office/drawing/2014/main" id="{731F6B61-BFCB-1C85-F2E6-D764AE5DC354}"/>
                    </a:ext>
                  </a:extLst>
                </p:cNvPr>
                <p:cNvSpPr/>
                <p:nvPr/>
              </p:nvSpPr>
              <p:spPr>
                <a:xfrm>
                  <a:off x="2447461" y="4635068"/>
                  <a:ext cx="141293" cy="318419"/>
                </a:xfrm>
                <a:custGeom>
                  <a:avLst/>
                  <a:gdLst>
                    <a:gd name="connsiteX0" fmla="*/ 30890 w 141293"/>
                    <a:gd name="connsiteY0" fmla="*/ 4532 h 318419"/>
                    <a:gd name="connsiteX1" fmla="*/ 130802 w 141293"/>
                    <a:gd name="connsiteY1" fmla="*/ 138371 h 318419"/>
                    <a:gd name="connsiteX2" fmla="*/ 129652 w 141293"/>
                    <a:gd name="connsiteY2" fmla="*/ 301222 h 318419"/>
                    <a:gd name="connsiteX3" fmla="*/ 112709 w 141293"/>
                    <a:gd name="connsiteY3" fmla="*/ 235388 h 318419"/>
                    <a:gd name="connsiteX4" fmla="*/ 88679 w 141293"/>
                    <a:gd name="connsiteY4" fmla="*/ 316164 h 318419"/>
                    <a:gd name="connsiteX5" fmla="*/ 79526 w 141293"/>
                    <a:gd name="connsiteY5" fmla="*/ 307629 h 318419"/>
                    <a:gd name="connsiteX6" fmla="*/ 63350 w 141293"/>
                    <a:gd name="connsiteY6" fmla="*/ 317101 h 318419"/>
                    <a:gd name="connsiteX7" fmla="*/ 36403 w 141293"/>
                    <a:gd name="connsiteY7" fmla="*/ 284471 h 318419"/>
                    <a:gd name="connsiteX8" fmla="*/ 3071 w 141293"/>
                    <a:gd name="connsiteY8" fmla="*/ 112851 h 318419"/>
                    <a:gd name="connsiteX9" fmla="*/ 30869 w 141293"/>
                    <a:gd name="connsiteY9" fmla="*/ 4511 h 31841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141293" h="318419">
                      <a:moveTo>
                        <a:pt x="30890" y="4532"/>
                      </a:moveTo>
                      <a:cubicBezTo>
                        <a:pt x="34956" y="8001"/>
                        <a:pt x="109964" y="81456"/>
                        <a:pt x="130802" y="138371"/>
                      </a:cubicBezTo>
                      <a:cubicBezTo>
                        <a:pt x="148298" y="186135"/>
                        <a:pt x="141082" y="295624"/>
                        <a:pt x="129652" y="301222"/>
                      </a:cubicBezTo>
                      <a:cubicBezTo>
                        <a:pt x="110155" y="310779"/>
                        <a:pt x="119393" y="245498"/>
                        <a:pt x="112709" y="235388"/>
                      </a:cubicBezTo>
                      <a:cubicBezTo>
                        <a:pt x="111560" y="233664"/>
                        <a:pt x="116604" y="318719"/>
                        <a:pt x="88679" y="316164"/>
                      </a:cubicBezTo>
                      <a:cubicBezTo>
                        <a:pt x="82804" y="315632"/>
                        <a:pt x="79526" y="307629"/>
                        <a:pt x="79526" y="307629"/>
                      </a:cubicBezTo>
                      <a:cubicBezTo>
                        <a:pt x="79526" y="307629"/>
                        <a:pt x="67841" y="322912"/>
                        <a:pt x="63350" y="317101"/>
                      </a:cubicBezTo>
                      <a:cubicBezTo>
                        <a:pt x="48961" y="298455"/>
                        <a:pt x="54601" y="257439"/>
                        <a:pt x="36403" y="284471"/>
                      </a:cubicBezTo>
                      <a:cubicBezTo>
                        <a:pt x="24675" y="301903"/>
                        <a:pt x="11159" y="166425"/>
                        <a:pt x="3071" y="112851"/>
                      </a:cubicBezTo>
                      <a:cubicBezTo>
                        <a:pt x="-5018" y="59277"/>
                        <a:pt x="2411" y="-19754"/>
                        <a:pt x="30869" y="4511"/>
                      </a:cubicBezTo>
                      <a:close/>
                    </a:path>
                  </a:pathLst>
                </a:custGeom>
                <a:solidFill>
                  <a:srgbClr val="FFB4B2"/>
                </a:solidFill>
                <a:ln w="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GB"/>
                </a:p>
              </p:txBody>
            </p:sp>
            <p:sp>
              <p:nvSpPr>
                <p:cNvPr id="1208" name="Freeform: Shape 1207">
                  <a:extLst>
                    <a:ext uri="{FF2B5EF4-FFF2-40B4-BE49-F238E27FC236}">
                      <a16:creationId xmlns:a16="http://schemas.microsoft.com/office/drawing/2014/main" id="{59BE01B0-4375-67E9-7F22-2C638DE9C8C5}"/>
                    </a:ext>
                  </a:extLst>
                </p:cNvPr>
                <p:cNvSpPr/>
                <p:nvPr/>
              </p:nvSpPr>
              <p:spPr>
                <a:xfrm>
                  <a:off x="2467028" y="4628933"/>
                  <a:ext cx="147497" cy="200511"/>
                </a:xfrm>
                <a:custGeom>
                  <a:avLst/>
                  <a:gdLst>
                    <a:gd name="connsiteX0" fmla="*/ 21 w 147497"/>
                    <a:gd name="connsiteY0" fmla="*/ 280 h 200511"/>
                    <a:gd name="connsiteX1" fmla="*/ 115896 w 147497"/>
                    <a:gd name="connsiteY1" fmla="*/ 100511 h 200511"/>
                    <a:gd name="connsiteX2" fmla="*/ 146121 w 147497"/>
                    <a:gd name="connsiteY2" fmla="*/ 183437 h 200511"/>
                    <a:gd name="connsiteX3" fmla="*/ 128007 w 147497"/>
                    <a:gd name="connsiteY3" fmla="*/ 190887 h 200511"/>
                    <a:gd name="connsiteX4" fmla="*/ 95910 w 147497"/>
                    <a:gd name="connsiteY4" fmla="*/ 139079 h 200511"/>
                    <a:gd name="connsiteX5" fmla="*/ 35460 w 147497"/>
                    <a:gd name="connsiteY5" fmla="*/ 78758 h 200511"/>
                    <a:gd name="connsiteX6" fmla="*/ 0 w 147497"/>
                    <a:gd name="connsiteY6" fmla="*/ 280 h 20051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47497" h="200511">
                      <a:moveTo>
                        <a:pt x="21" y="280"/>
                      </a:moveTo>
                      <a:cubicBezTo>
                        <a:pt x="21" y="280"/>
                        <a:pt x="54170" y="-10426"/>
                        <a:pt x="115896" y="100511"/>
                      </a:cubicBezTo>
                      <a:cubicBezTo>
                        <a:pt x="126155" y="118944"/>
                        <a:pt x="143183" y="173710"/>
                        <a:pt x="146121" y="183437"/>
                      </a:cubicBezTo>
                      <a:cubicBezTo>
                        <a:pt x="152251" y="203785"/>
                        <a:pt x="136415" y="205531"/>
                        <a:pt x="128007" y="190887"/>
                      </a:cubicBezTo>
                      <a:cubicBezTo>
                        <a:pt x="125240" y="186034"/>
                        <a:pt x="99209" y="144762"/>
                        <a:pt x="95910" y="139079"/>
                      </a:cubicBezTo>
                      <a:cubicBezTo>
                        <a:pt x="86544" y="122839"/>
                        <a:pt x="43506" y="78864"/>
                        <a:pt x="35460" y="78758"/>
                      </a:cubicBezTo>
                      <a:cubicBezTo>
                        <a:pt x="27415" y="78651"/>
                        <a:pt x="0" y="280"/>
                        <a:pt x="0" y="280"/>
                      </a:cubicBezTo>
                      <a:close/>
                    </a:path>
                  </a:pathLst>
                </a:custGeom>
                <a:solidFill>
                  <a:srgbClr val="FFB4B2"/>
                </a:solidFill>
                <a:ln w="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GB"/>
                </a:p>
              </p:txBody>
            </p:sp>
          </p:grpSp>
          <p:sp>
            <p:nvSpPr>
              <p:cNvPr id="1209" name="Freeform: Shape 1208">
                <a:extLst>
                  <a:ext uri="{FF2B5EF4-FFF2-40B4-BE49-F238E27FC236}">
                    <a16:creationId xmlns:a16="http://schemas.microsoft.com/office/drawing/2014/main" id="{25AE2C00-B693-46A6-5CD8-8CC1C134A405}"/>
                  </a:ext>
                </a:extLst>
              </p:cNvPr>
              <p:cNvSpPr/>
              <p:nvPr/>
            </p:nvSpPr>
            <p:spPr>
              <a:xfrm>
                <a:off x="2267898" y="3422817"/>
                <a:ext cx="297763" cy="1271953"/>
              </a:xfrm>
              <a:custGeom>
                <a:avLst/>
                <a:gdLst>
                  <a:gd name="connsiteX0" fmla="*/ 61671 w 297763"/>
                  <a:gd name="connsiteY0" fmla="*/ 839 h 1271953"/>
                  <a:gd name="connsiteX1" fmla="*/ 46581 w 297763"/>
                  <a:gd name="connsiteY1" fmla="*/ 164180 h 1271953"/>
                  <a:gd name="connsiteX2" fmla="*/ 6543 w 297763"/>
                  <a:gd name="connsiteY2" fmla="*/ 867008 h 1271953"/>
                  <a:gd name="connsiteX3" fmla="*/ 190701 w 297763"/>
                  <a:gd name="connsiteY3" fmla="*/ 1271953 h 1271953"/>
                  <a:gd name="connsiteX4" fmla="*/ 297764 w 297763"/>
                  <a:gd name="connsiteY4" fmla="*/ 1239004 h 1271953"/>
                  <a:gd name="connsiteX5" fmla="*/ 218137 w 297763"/>
                  <a:gd name="connsiteY5" fmla="*/ 695409 h 1271953"/>
                  <a:gd name="connsiteX6" fmla="*/ 61650 w 297763"/>
                  <a:gd name="connsiteY6" fmla="*/ 818 h 12719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97763" h="1271953">
                    <a:moveTo>
                      <a:pt x="61671" y="839"/>
                    </a:moveTo>
                    <a:cubicBezTo>
                      <a:pt x="-3673" y="11567"/>
                      <a:pt x="63779" y="87533"/>
                      <a:pt x="46581" y="164180"/>
                    </a:cubicBezTo>
                    <a:cubicBezTo>
                      <a:pt x="23997" y="264708"/>
                      <a:pt x="-15678" y="731125"/>
                      <a:pt x="6543" y="867008"/>
                    </a:cubicBezTo>
                    <a:cubicBezTo>
                      <a:pt x="30659" y="1014384"/>
                      <a:pt x="190701" y="1271953"/>
                      <a:pt x="190701" y="1271953"/>
                    </a:cubicBezTo>
                    <a:lnTo>
                      <a:pt x="297764" y="1239004"/>
                    </a:lnTo>
                    <a:cubicBezTo>
                      <a:pt x="297764" y="1239004"/>
                      <a:pt x="203174" y="825076"/>
                      <a:pt x="218137" y="695409"/>
                    </a:cubicBezTo>
                    <a:cubicBezTo>
                      <a:pt x="289527" y="77699"/>
                      <a:pt x="115118" y="-9910"/>
                      <a:pt x="61650" y="818"/>
                    </a:cubicBezTo>
                    <a:close/>
                  </a:path>
                </a:pathLst>
              </a:custGeom>
              <a:solidFill>
                <a:schemeClr val="accent4">
                  <a:lumMod val="40000"/>
                  <a:lumOff val="60000"/>
                </a:schemeClr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1210" name="Freeform: Shape 1209">
                <a:extLst>
                  <a:ext uri="{FF2B5EF4-FFF2-40B4-BE49-F238E27FC236}">
                    <a16:creationId xmlns:a16="http://schemas.microsoft.com/office/drawing/2014/main" id="{9585CB51-3EAE-5610-9B4E-59515343A4A1}"/>
                  </a:ext>
                </a:extLst>
              </p:cNvPr>
              <p:cNvSpPr/>
              <p:nvPr/>
            </p:nvSpPr>
            <p:spPr>
              <a:xfrm>
                <a:off x="1605643" y="6522655"/>
                <a:ext cx="492860" cy="225343"/>
              </a:xfrm>
              <a:custGeom>
                <a:avLst/>
                <a:gdLst>
                  <a:gd name="connsiteX0" fmla="*/ 89551 w 492860"/>
                  <a:gd name="connsiteY0" fmla="*/ 21 h 225343"/>
                  <a:gd name="connsiteX1" fmla="*/ 256638 w 492860"/>
                  <a:gd name="connsiteY1" fmla="*/ 21 h 225343"/>
                  <a:gd name="connsiteX2" fmla="*/ 479746 w 492860"/>
                  <a:gd name="connsiteY2" fmla="*/ 156615 h 225343"/>
                  <a:gd name="connsiteX3" fmla="*/ 492858 w 492860"/>
                  <a:gd name="connsiteY3" fmla="*/ 220065 h 225343"/>
                  <a:gd name="connsiteX4" fmla="*/ 487750 w 492860"/>
                  <a:gd name="connsiteY4" fmla="*/ 225343 h 225343"/>
                  <a:gd name="connsiteX5" fmla="*/ 10520 w 492860"/>
                  <a:gd name="connsiteY5" fmla="*/ 221214 h 225343"/>
                  <a:gd name="connsiteX6" fmla="*/ 27 w 492860"/>
                  <a:gd name="connsiteY6" fmla="*/ 210997 h 225343"/>
                  <a:gd name="connsiteX7" fmla="*/ 63286 w 492860"/>
                  <a:gd name="connsiteY7" fmla="*/ 15921 h 225343"/>
                  <a:gd name="connsiteX8" fmla="*/ 89551 w 492860"/>
                  <a:gd name="connsiteY8" fmla="*/ 0 h 2253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92860" h="225343">
                    <a:moveTo>
                      <a:pt x="89551" y="21"/>
                    </a:moveTo>
                    <a:lnTo>
                      <a:pt x="256638" y="21"/>
                    </a:lnTo>
                    <a:cubicBezTo>
                      <a:pt x="271963" y="23286"/>
                      <a:pt x="323685" y="83373"/>
                      <a:pt x="479746" y="156615"/>
                    </a:cubicBezTo>
                    <a:cubicBezTo>
                      <a:pt x="490091" y="161468"/>
                      <a:pt x="492368" y="204804"/>
                      <a:pt x="492858" y="220065"/>
                    </a:cubicBezTo>
                    <a:cubicBezTo>
                      <a:pt x="492943" y="222960"/>
                      <a:pt x="490644" y="225343"/>
                      <a:pt x="487750" y="225343"/>
                    </a:cubicBezTo>
                    <a:lnTo>
                      <a:pt x="10520" y="221214"/>
                    </a:lnTo>
                    <a:cubicBezTo>
                      <a:pt x="4837" y="221214"/>
                      <a:pt x="176" y="216681"/>
                      <a:pt x="27" y="210997"/>
                    </a:cubicBezTo>
                    <a:cubicBezTo>
                      <a:pt x="-824" y="176963"/>
                      <a:pt x="18460" y="70475"/>
                      <a:pt x="63286" y="15921"/>
                    </a:cubicBezTo>
                    <a:cubicBezTo>
                      <a:pt x="68841" y="9174"/>
                      <a:pt x="78079" y="3980"/>
                      <a:pt x="89551" y="0"/>
                    </a:cubicBezTo>
                    <a:close/>
                  </a:path>
                </a:pathLst>
              </a:custGeom>
              <a:solidFill>
                <a:schemeClr val="tx2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1211" name="Freeform: Shape 1210">
                <a:extLst>
                  <a:ext uri="{FF2B5EF4-FFF2-40B4-BE49-F238E27FC236}">
                    <a16:creationId xmlns:a16="http://schemas.microsoft.com/office/drawing/2014/main" id="{47DF8805-CA46-DECC-A6E2-CAE8E489498D}"/>
                  </a:ext>
                </a:extLst>
              </p:cNvPr>
              <p:cNvSpPr/>
              <p:nvPr/>
            </p:nvSpPr>
            <p:spPr>
              <a:xfrm>
                <a:off x="2182735" y="6513928"/>
                <a:ext cx="474839" cy="227302"/>
              </a:xfrm>
              <a:custGeom>
                <a:avLst/>
                <a:gdLst>
                  <a:gd name="connsiteX0" fmla="*/ 69506 w 474839"/>
                  <a:gd name="connsiteY0" fmla="*/ 1511 h 227302"/>
                  <a:gd name="connsiteX1" fmla="*/ 236593 w 474839"/>
                  <a:gd name="connsiteY1" fmla="*/ 0 h 227302"/>
                  <a:gd name="connsiteX2" fmla="*/ 461127 w 474839"/>
                  <a:gd name="connsiteY2" fmla="*/ 154486 h 227302"/>
                  <a:gd name="connsiteX3" fmla="*/ 474835 w 474839"/>
                  <a:gd name="connsiteY3" fmla="*/ 217809 h 227302"/>
                  <a:gd name="connsiteX4" fmla="*/ 469769 w 474839"/>
                  <a:gd name="connsiteY4" fmla="*/ 223130 h 227302"/>
                  <a:gd name="connsiteX5" fmla="*/ 10909 w 474839"/>
                  <a:gd name="connsiteY5" fmla="*/ 227302 h 227302"/>
                  <a:gd name="connsiteX6" fmla="*/ 309 w 474839"/>
                  <a:gd name="connsiteY6" fmla="*/ 217191 h 227302"/>
                  <a:gd name="connsiteX7" fmla="*/ 43390 w 474839"/>
                  <a:gd name="connsiteY7" fmla="*/ 17667 h 227302"/>
                  <a:gd name="connsiteX8" fmla="*/ 69506 w 474839"/>
                  <a:gd name="connsiteY8" fmla="*/ 1511 h 2273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74839" h="227302">
                    <a:moveTo>
                      <a:pt x="69506" y="1511"/>
                    </a:moveTo>
                    <a:lnTo>
                      <a:pt x="236593" y="0"/>
                    </a:lnTo>
                    <a:cubicBezTo>
                      <a:pt x="252131" y="23094"/>
                      <a:pt x="304407" y="82713"/>
                      <a:pt x="461127" y="154486"/>
                    </a:cubicBezTo>
                    <a:cubicBezTo>
                      <a:pt x="471514" y="159254"/>
                      <a:pt x="474196" y="202569"/>
                      <a:pt x="474835" y="217809"/>
                    </a:cubicBezTo>
                    <a:cubicBezTo>
                      <a:pt x="474963" y="220703"/>
                      <a:pt x="472664" y="223109"/>
                      <a:pt x="469769" y="223130"/>
                    </a:cubicBezTo>
                    <a:lnTo>
                      <a:pt x="10909" y="227302"/>
                    </a:lnTo>
                    <a:cubicBezTo>
                      <a:pt x="5226" y="227344"/>
                      <a:pt x="522" y="222875"/>
                      <a:pt x="309" y="217191"/>
                    </a:cubicBezTo>
                    <a:cubicBezTo>
                      <a:pt x="-862" y="183157"/>
                      <a:pt x="-947" y="72624"/>
                      <a:pt x="43390" y="17667"/>
                    </a:cubicBezTo>
                    <a:cubicBezTo>
                      <a:pt x="48881" y="10877"/>
                      <a:pt x="58076" y="5598"/>
                      <a:pt x="69506" y="1511"/>
                    </a:cubicBezTo>
                    <a:close/>
                  </a:path>
                </a:pathLst>
              </a:custGeom>
              <a:solidFill>
                <a:schemeClr val="tx2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1212" name="Freeform: Shape 1211">
                <a:extLst>
                  <a:ext uri="{FF2B5EF4-FFF2-40B4-BE49-F238E27FC236}">
                    <a16:creationId xmlns:a16="http://schemas.microsoft.com/office/drawing/2014/main" id="{513BAE7F-97D0-CE97-3D9D-1A056AF268FD}"/>
                  </a:ext>
                </a:extLst>
              </p:cNvPr>
              <p:cNvSpPr/>
              <p:nvPr/>
            </p:nvSpPr>
            <p:spPr>
              <a:xfrm>
                <a:off x="1925454" y="4187530"/>
                <a:ext cx="591612" cy="2380722"/>
              </a:xfrm>
              <a:custGeom>
                <a:avLst/>
                <a:gdLst>
                  <a:gd name="connsiteX0" fmla="*/ 454454 w 591612"/>
                  <a:gd name="connsiteY0" fmla="*/ 12154 h 2380722"/>
                  <a:gd name="connsiteX1" fmla="*/ 0 w 591612"/>
                  <a:gd name="connsiteY1" fmla="*/ 0 h 2380722"/>
                  <a:gd name="connsiteX2" fmla="*/ 113257 w 591612"/>
                  <a:gd name="connsiteY2" fmla="*/ 345837 h 2380722"/>
                  <a:gd name="connsiteX3" fmla="*/ 69793 w 591612"/>
                  <a:gd name="connsiteY3" fmla="*/ 828750 h 2380722"/>
                  <a:gd name="connsiteX4" fmla="*/ 127752 w 591612"/>
                  <a:gd name="connsiteY4" fmla="*/ 906014 h 2380722"/>
                  <a:gd name="connsiteX5" fmla="*/ 264040 w 591612"/>
                  <a:gd name="connsiteY5" fmla="*/ 2380484 h 2380722"/>
                  <a:gd name="connsiteX6" fmla="*/ 549492 w 591612"/>
                  <a:gd name="connsiteY6" fmla="*/ 2374035 h 2380722"/>
                  <a:gd name="connsiteX7" fmla="*/ 591338 w 591612"/>
                  <a:gd name="connsiteY7" fmla="*/ 1118480 h 2380722"/>
                  <a:gd name="connsiteX8" fmla="*/ 454476 w 591612"/>
                  <a:gd name="connsiteY8" fmla="*/ 12154 h 23807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591612" h="2380722">
                    <a:moveTo>
                      <a:pt x="454454" y="12154"/>
                    </a:moveTo>
                    <a:lnTo>
                      <a:pt x="0" y="0"/>
                    </a:lnTo>
                    <a:cubicBezTo>
                      <a:pt x="0" y="0"/>
                      <a:pt x="77222" y="124708"/>
                      <a:pt x="113257" y="345837"/>
                    </a:cubicBezTo>
                    <a:cubicBezTo>
                      <a:pt x="149292" y="566945"/>
                      <a:pt x="69793" y="828750"/>
                      <a:pt x="69793" y="828750"/>
                    </a:cubicBezTo>
                    <a:lnTo>
                      <a:pt x="127752" y="906014"/>
                    </a:lnTo>
                    <a:cubicBezTo>
                      <a:pt x="279067" y="960737"/>
                      <a:pt x="252099" y="2329507"/>
                      <a:pt x="264040" y="2380484"/>
                    </a:cubicBezTo>
                    <a:cubicBezTo>
                      <a:pt x="264040" y="2380484"/>
                      <a:pt x="485105" y="2382634"/>
                      <a:pt x="549492" y="2374035"/>
                    </a:cubicBezTo>
                    <a:cubicBezTo>
                      <a:pt x="530420" y="2225572"/>
                      <a:pt x="585293" y="1661437"/>
                      <a:pt x="591338" y="1118480"/>
                    </a:cubicBezTo>
                    <a:cubicBezTo>
                      <a:pt x="597297" y="583867"/>
                      <a:pt x="504793" y="51297"/>
                      <a:pt x="454476" y="12154"/>
                    </a:cubicBezTo>
                    <a:close/>
                  </a:path>
                </a:pathLst>
              </a:custGeom>
              <a:solidFill>
                <a:schemeClr val="accent2">
                  <a:lumMod val="75000"/>
                </a:schemeClr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1213" name="Freeform: Shape 1212">
                <a:extLst>
                  <a:ext uri="{FF2B5EF4-FFF2-40B4-BE49-F238E27FC236}">
                    <a16:creationId xmlns:a16="http://schemas.microsoft.com/office/drawing/2014/main" id="{A0847497-B561-46DA-015F-1F9ED226ECE0}"/>
                  </a:ext>
                </a:extLst>
              </p:cNvPr>
              <p:cNvSpPr/>
              <p:nvPr/>
            </p:nvSpPr>
            <p:spPr>
              <a:xfrm>
                <a:off x="1604052" y="4122887"/>
                <a:ext cx="689929" cy="2467645"/>
              </a:xfrm>
              <a:custGeom>
                <a:avLst/>
                <a:gdLst>
                  <a:gd name="connsiteX0" fmla="*/ 342879 w 689929"/>
                  <a:gd name="connsiteY0" fmla="*/ 2448340 h 2467645"/>
                  <a:gd name="connsiteX1" fmla="*/ 593998 w 689929"/>
                  <a:gd name="connsiteY1" fmla="*/ 1332819 h 2467645"/>
                  <a:gd name="connsiteX2" fmla="*/ 624159 w 689929"/>
                  <a:gd name="connsiteY2" fmla="*/ 186137 h 2467645"/>
                  <a:gd name="connsiteX3" fmla="*/ 689929 w 689929"/>
                  <a:gd name="connsiteY3" fmla="*/ 96080 h 2467645"/>
                  <a:gd name="connsiteX4" fmla="*/ 299415 w 689929"/>
                  <a:gd name="connsiteY4" fmla="*/ 0 h 2467645"/>
                  <a:gd name="connsiteX5" fmla="*/ 246288 w 689929"/>
                  <a:gd name="connsiteY5" fmla="*/ 536018 h 2467645"/>
                  <a:gd name="connsiteX6" fmla="*/ 0 w 689929"/>
                  <a:gd name="connsiteY6" fmla="*/ 2467646 h 2467645"/>
                  <a:gd name="connsiteX7" fmla="*/ 342857 w 689929"/>
                  <a:gd name="connsiteY7" fmla="*/ 2448319 h 24676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689929" h="2467645">
                    <a:moveTo>
                      <a:pt x="342879" y="2448340"/>
                    </a:moveTo>
                    <a:cubicBezTo>
                      <a:pt x="420888" y="2204585"/>
                      <a:pt x="569840" y="1472874"/>
                      <a:pt x="593998" y="1332819"/>
                    </a:cubicBezTo>
                    <a:cubicBezTo>
                      <a:pt x="644188" y="1041684"/>
                      <a:pt x="617454" y="667942"/>
                      <a:pt x="624159" y="186137"/>
                    </a:cubicBezTo>
                    <a:cubicBezTo>
                      <a:pt x="624755" y="142864"/>
                      <a:pt x="652000" y="108808"/>
                      <a:pt x="689929" y="96080"/>
                    </a:cubicBezTo>
                    <a:lnTo>
                      <a:pt x="299415" y="0"/>
                    </a:lnTo>
                    <a:cubicBezTo>
                      <a:pt x="299415" y="0"/>
                      <a:pt x="231495" y="216021"/>
                      <a:pt x="246288" y="536018"/>
                    </a:cubicBezTo>
                    <a:cubicBezTo>
                      <a:pt x="284920" y="1371451"/>
                      <a:pt x="238242" y="1509888"/>
                      <a:pt x="0" y="2467646"/>
                    </a:cubicBezTo>
                    <a:cubicBezTo>
                      <a:pt x="47508" y="2464240"/>
                      <a:pt x="295222" y="2466198"/>
                      <a:pt x="342857" y="2448319"/>
                    </a:cubicBezTo>
                    <a:close/>
                  </a:path>
                </a:pathLst>
              </a:custGeom>
              <a:solidFill>
                <a:schemeClr val="accent2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1214" name="Freeform: Shape 1213">
                <a:extLst>
                  <a:ext uri="{FF2B5EF4-FFF2-40B4-BE49-F238E27FC236}">
                    <a16:creationId xmlns:a16="http://schemas.microsoft.com/office/drawing/2014/main" id="{A49DD788-69EF-4993-9D8B-70313CC23874}"/>
                  </a:ext>
                </a:extLst>
              </p:cNvPr>
              <p:cNvSpPr/>
              <p:nvPr/>
            </p:nvSpPr>
            <p:spPr>
              <a:xfrm>
                <a:off x="1759722" y="3344562"/>
                <a:ext cx="697466" cy="1098569"/>
              </a:xfrm>
              <a:custGeom>
                <a:avLst/>
                <a:gdLst>
                  <a:gd name="connsiteX0" fmla="*/ 558865 w 697466"/>
                  <a:gd name="connsiteY0" fmla="*/ 74880 h 1098569"/>
                  <a:gd name="connsiteX1" fmla="*/ 275393 w 697466"/>
                  <a:gd name="connsiteY1" fmla="*/ 0 h 1098569"/>
                  <a:gd name="connsiteX2" fmla="*/ 839 w 697466"/>
                  <a:gd name="connsiteY2" fmla="*/ 109766 h 1098569"/>
                  <a:gd name="connsiteX3" fmla="*/ 43451 w 697466"/>
                  <a:gd name="connsiteY3" fmla="*/ 135415 h 1098569"/>
                  <a:gd name="connsiteX4" fmla="*/ 62969 w 697466"/>
                  <a:gd name="connsiteY4" fmla="*/ 334833 h 1098569"/>
                  <a:gd name="connsiteX5" fmla="*/ 67865 w 697466"/>
                  <a:gd name="connsiteY5" fmla="*/ 364866 h 1098569"/>
                  <a:gd name="connsiteX6" fmla="*/ 42408 w 697466"/>
                  <a:gd name="connsiteY6" fmla="*/ 465012 h 1098569"/>
                  <a:gd name="connsiteX7" fmla="*/ 64182 w 697466"/>
                  <a:gd name="connsiteY7" fmla="*/ 1030403 h 1098569"/>
                  <a:gd name="connsiteX8" fmla="*/ 298657 w 697466"/>
                  <a:gd name="connsiteY8" fmla="*/ 1098536 h 1098569"/>
                  <a:gd name="connsiteX9" fmla="*/ 681062 w 697466"/>
                  <a:gd name="connsiteY9" fmla="*/ 1055647 h 1098569"/>
                  <a:gd name="connsiteX10" fmla="*/ 696153 w 697466"/>
                  <a:gd name="connsiteY10" fmla="*/ 990558 h 1098569"/>
                  <a:gd name="connsiteX11" fmla="*/ 667589 w 697466"/>
                  <a:gd name="connsiteY11" fmla="*/ 861826 h 1098569"/>
                  <a:gd name="connsiteX12" fmla="*/ 558886 w 697466"/>
                  <a:gd name="connsiteY12" fmla="*/ 74880 h 10985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697466" h="1098569">
                    <a:moveTo>
                      <a:pt x="558865" y="74880"/>
                    </a:moveTo>
                    <a:cubicBezTo>
                      <a:pt x="465446" y="46784"/>
                      <a:pt x="355573" y="3725"/>
                      <a:pt x="275393" y="0"/>
                    </a:cubicBezTo>
                    <a:cubicBezTo>
                      <a:pt x="133678" y="33396"/>
                      <a:pt x="41280" y="72645"/>
                      <a:pt x="839" y="109766"/>
                    </a:cubicBezTo>
                    <a:cubicBezTo>
                      <a:pt x="-4227" y="114406"/>
                      <a:pt x="14120" y="109766"/>
                      <a:pt x="43451" y="135415"/>
                    </a:cubicBezTo>
                    <a:cubicBezTo>
                      <a:pt x="30659" y="194289"/>
                      <a:pt x="50028" y="265253"/>
                      <a:pt x="62969" y="334833"/>
                    </a:cubicBezTo>
                    <a:cubicBezTo>
                      <a:pt x="64800" y="344837"/>
                      <a:pt x="66481" y="354798"/>
                      <a:pt x="67865" y="364866"/>
                    </a:cubicBezTo>
                    <a:cubicBezTo>
                      <a:pt x="66460" y="413545"/>
                      <a:pt x="31553" y="420058"/>
                      <a:pt x="42408" y="465012"/>
                    </a:cubicBezTo>
                    <a:cubicBezTo>
                      <a:pt x="44579" y="473994"/>
                      <a:pt x="59031" y="894116"/>
                      <a:pt x="64182" y="1030403"/>
                    </a:cubicBezTo>
                    <a:cubicBezTo>
                      <a:pt x="66183" y="1083786"/>
                      <a:pt x="206557" y="1095109"/>
                      <a:pt x="298657" y="1098536"/>
                    </a:cubicBezTo>
                    <a:cubicBezTo>
                      <a:pt x="302935" y="1099153"/>
                      <a:pt x="590090" y="1091427"/>
                      <a:pt x="681062" y="1055647"/>
                    </a:cubicBezTo>
                    <a:cubicBezTo>
                      <a:pt x="700601" y="1047963"/>
                      <a:pt x="698132" y="997943"/>
                      <a:pt x="696153" y="990558"/>
                    </a:cubicBezTo>
                    <a:cubicBezTo>
                      <a:pt x="681126" y="934174"/>
                      <a:pt x="674017" y="922190"/>
                      <a:pt x="667589" y="861826"/>
                    </a:cubicBezTo>
                    <a:cubicBezTo>
                      <a:pt x="630085" y="508880"/>
                      <a:pt x="710094" y="120366"/>
                      <a:pt x="558886" y="74880"/>
                    </a:cubicBezTo>
                    <a:close/>
                  </a:path>
                </a:pathLst>
              </a:custGeom>
              <a:solidFill>
                <a:schemeClr val="accent4">
                  <a:lumMod val="20000"/>
                  <a:lumOff val="80000"/>
                </a:schemeClr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1215" name="Freeform: Shape 1214">
                <a:extLst>
                  <a:ext uri="{FF2B5EF4-FFF2-40B4-BE49-F238E27FC236}">
                    <a16:creationId xmlns:a16="http://schemas.microsoft.com/office/drawing/2014/main" id="{E683B99D-0798-D355-371E-0D34918B9345}"/>
                  </a:ext>
                </a:extLst>
              </p:cNvPr>
              <p:cNvSpPr/>
              <p:nvPr/>
            </p:nvSpPr>
            <p:spPr>
              <a:xfrm>
                <a:off x="2171198" y="3379259"/>
                <a:ext cx="88217" cy="178497"/>
              </a:xfrm>
              <a:custGeom>
                <a:avLst/>
                <a:gdLst>
                  <a:gd name="connsiteX0" fmla="*/ 78788 w 88217"/>
                  <a:gd name="connsiteY0" fmla="*/ 178492 h 178497"/>
                  <a:gd name="connsiteX1" fmla="*/ 76383 w 88217"/>
                  <a:gd name="connsiteY1" fmla="*/ 177471 h 178497"/>
                  <a:gd name="connsiteX2" fmla="*/ 36282 w 88217"/>
                  <a:gd name="connsiteY2" fmla="*/ 143309 h 178497"/>
                  <a:gd name="connsiteX3" fmla="*/ 1268 w 88217"/>
                  <a:gd name="connsiteY3" fmla="*/ 114276 h 178497"/>
                  <a:gd name="connsiteX4" fmla="*/ 949 w 88217"/>
                  <a:gd name="connsiteY4" fmla="*/ 108997 h 178497"/>
                  <a:gd name="connsiteX5" fmla="*/ 6228 w 88217"/>
                  <a:gd name="connsiteY5" fmla="*/ 108678 h 178497"/>
                  <a:gd name="connsiteX6" fmla="*/ 40965 w 88217"/>
                  <a:gd name="connsiteY6" fmla="*/ 137476 h 178497"/>
                  <a:gd name="connsiteX7" fmla="*/ 76532 w 88217"/>
                  <a:gd name="connsiteY7" fmla="*/ 167361 h 178497"/>
                  <a:gd name="connsiteX8" fmla="*/ 59865 w 88217"/>
                  <a:gd name="connsiteY8" fmla="*/ 5084 h 178497"/>
                  <a:gd name="connsiteX9" fmla="*/ 62015 w 88217"/>
                  <a:gd name="connsiteY9" fmla="*/ 253 h 178497"/>
                  <a:gd name="connsiteX10" fmla="*/ 66847 w 88217"/>
                  <a:gd name="connsiteY10" fmla="*/ 2402 h 178497"/>
                  <a:gd name="connsiteX11" fmla="*/ 82683 w 88217"/>
                  <a:gd name="connsiteY11" fmla="*/ 175470 h 178497"/>
                  <a:gd name="connsiteX12" fmla="*/ 80150 w 88217"/>
                  <a:gd name="connsiteY12" fmla="*/ 178322 h 178497"/>
                  <a:gd name="connsiteX13" fmla="*/ 78830 w 88217"/>
                  <a:gd name="connsiteY13" fmla="*/ 178492 h 1784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88217" h="178497">
                    <a:moveTo>
                      <a:pt x="78788" y="178492"/>
                    </a:moveTo>
                    <a:cubicBezTo>
                      <a:pt x="77915" y="178450"/>
                      <a:pt x="77042" y="178088"/>
                      <a:pt x="76383" y="177471"/>
                    </a:cubicBezTo>
                    <a:cubicBezTo>
                      <a:pt x="62015" y="163827"/>
                      <a:pt x="49500" y="153845"/>
                      <a:pt x="36282" y="143309"/>
                    </a:cubicBezTo>
                    <a:cubicBezTo>
                      <a:pt x="25533" y="134731"/>
                      <a:pt x="14401" y="125876"/>
                      <a:pt x="1268" y="114276"/>
                    </a:cubicBezTo>
                    <a:cubicBezTo>
                      <a:pt x="-286" y="112914"/>
                      <a:pt x="-435" y="110551"/>
                      <a:pt x="949" y="108997"/>
                    </a:cubicBezTo>
                    <a:cubicBezTo>
                      <a:pt x="2311" y="107443"/>
                      <a:pt x="4674" y="107316"/>
                      <a:pt x="6228" y="108678"/>
                    </a:cubicBezTo>
                    <a:cubicBezTo>
                      <a:pt x="19233" y="120151"/>
                      <a:pt x="30280" y="128962"/>
                      <a:pt x="40965" y="137476"/>
                    </a:cubicBezTo>
                    <a:cubicBezTo>
                      <a:pt x="52778" y="146884"/>
                      <a:pt x="63995" y="155824"/>
                      <a:pt x="76532" y="167361"/>
                    </a:cubicBezTo>
                    <a:cubicBezTo>
                      <a:pt x="85620" y="113127"/>
                      <a:pt x="79895" y="57168"/>
                      <a:pt x="59865" y="5084"/>
                    </a:cubicBezTo>
                    <a:cubicBezTo>
                      <a:pt x="59120" y="3169"/>
                      <a:pt x="60078" y="998"/>
                      <a:pt x="62015" y="253"/>
                    </a:cubicBezTo>
                    <a:cubicBezTo>
                      <a:pt x="63952" y="-492"/>
                      <a:pt x="66102" y="465"/>
                      <a:pt x="66847" y="2402"/>
                    </a:cubicBezTo>
                    <a:cubicBezTo>
                      <a:pt x="88217" y="57935"/>
                      <a:pt x="93687" y="117788"/>
                      <a:pt x="82683" y="175470"/>
                    </a:cubicBezTo>
                    <a:cubicBezTo>
                      <a:pt x="82428" y="176811"/>
                      <a:pt x="81448" y="177918"/>
                      <a:pt x="80150" y="178322"/>
                    </a:cubicBezTo>
                    <a:cubicBezTo>
                      <a:pt x="79724" y="178471"/>
                      <a:pt x="79277" y="178514"/>
                      <a:pt x="78830" y="178492"/>
                    </a:cubicBezTo>
                    <a:close/>
                  </a:path>
                </a:pathLst>
              </a:custGeom>
              <a:solidFill>
                <a:schemeClr val="accent2"/>
              </a:solidFill>
              <a:ln w="9525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1216" name="Freeform: Shape 1215">
                <a:extLst>
                  <a:ext uri="{FF2B5EF4-FFF2-40B4-BE49-F238E27FC236}">
                    <a16:creationId xmlns:a16="http://schemas.microsoft.com/office/drawing/2014/main" id="{8E5E4246-0A58-BE4D-EC77-7F6B84E4394C}"/>
                  </a:ext>
                </a:extLst>
              </p:cNvPr>
              <p:cNvSpPr/>
              <p:nvPr/>
            </p:nvSpPr>
            <p:spPr>
              <a:xfrm>
                <a:off x="1872152" y="4836279"/>
                <a:ext cx="106790" cy="139689"/>
              </a:xfrm>
              <a:custGeom>
                <a:avLst/>
                <a:gdLst>
                  <a:gd name="connsiteX0" fmla="*/ 68265 w 106790"/>
                  <a:gd name="connsiteY0" fmla="*/ 42010 h 139689"/>
                  <a:gd name="connsiteX1" fmla="*/ 73523 w 106790"/>
                  <a:gd name="connsiteY1" fmla="*/ 38242 h 139689"/>
                  <a:gd name="connsiteX2" fmla="*/ 77311 w 106790"/>
                  <a:gd name="connsiteY2" fmla="*/ 36156 h 139689"/>
                  <a:gd name="connsiteX3" fmla="*/ 95212 w 106790"/>
                  <a:gd name="connsiteY3" fmla="*/ 29707 h 139689"/>
                  <a:gd name="connsiteX4" fmla="*/ 97468 w 106790"/>
                  <a:gd name="connsiteY4" fmla="*/ 29175 h 139689"/>
                  <a:gd name="connsiteX5" fmla="*/ 106791 w 106790"/>
                  <a:gd name="connsiteY5" fmla="*/ 3931 h 139689"/>
                  <a:gd name="connsiteX6" fmla="*/ 99362 w 106790"/>
                  <a:gd name="connsiteY6" fmla="*/ 1569 h 139689"/>
                  <a:gd name="connsiteX7" fmla="*/ 303 w 106790"/>
                  <a:gd name="connsiteY7" fmla="*/ 102012 h 139689"/>
                  <a:gd name="connsiteX8" fmla="*/ 36487 w 106790"/>
                  <a:gd name="connsiteY8" fmla="*/ 126575 h 139689"/>
                  <a:gd name="connsiteX9" fmla="*/ 68265 w 106790"/>
                  <a:gd name="connsiteY9" fmla="*/ 42010 h 1396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06790" h="139689">
                    <a:moveTo>
                      <a:pt x="68265" y="42010"/>
                    </a:moveTo>
                    <a:cubicBezTo>
                      <a:pt x="69989" y="40690"/>
                      <a:pt x="71777" y="39434"/>
                      <a:pt x="73523" y="38242"/>
                    </a:cubicBezTo>
                    <a:cubicBezTo>
                      <a:pt x="74715" y="37412"/>
                      <a:pt x="75992" y="36774"/>
                      <a:pt x="77311" y="36156"/>
                    </a:cubicBezTo>
                    <a:cubicBezTo>
                      <a:pt x="83207" y="33389"/>
                      <a:pt x="88890" y="31005"/>
                      <a:pt x="95212" y="29707"/>
                    </a:cubicBezTo>
                    <a:cubicBezTo>
                      <a:pt x="95957" y="29516"/>
                      <a:pt x="96723" y="29345"/>
                      <a:pt x="97468" y="29175"/>
                    </a:cubicBezTo>
                    <a:cubicBezTo>
                      <a:pt x="100044" y="20618"/>
                      <a:pt x="103151" y="12190"/>
                      <a:pt x="106791" y="3931"/>
                    </a:cubicBezTo>
                    <a:cubicBezTo>
                      <a:pt x="104386" y="2952"/>
                      <a:pt x="101917" y="2143"/>
                      <a:pt x="99362" y="1569"/>
                    </a:cubicBezTo>
                    <a:cubicBezTo>
                      <a:pt x="53068" y="-9053"/>
                      <a:pt x="4474" y="35348"/>
                      <a:pt x="303" y="102012"/>
                    </a:cubicBezTo>
                    <a:cubicBezTo>
                      <a:pt x="-3869" y="168676"/>
                      <a:pt x="36487" y="126575"/>
                      <a:pt x="36487" y="126575"/>
                    </a:cubicBezTo>
                    <a:cubicBezTo>
                      <a:pt x="36487" y="126575"/>
                      <a:pt x="38977" y="57463"/>
                      <a:pt x="68265" y="42010"/>
                    </a:cubicBezTo>
                    <a:close/>
                  </a:path>
                </a:pathLst>
              </a:custGeom>
              <a:solidFill>
                <a:schemeClr val="tx2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1217" name="Freeform: Shape 1216">
                <a:extLst>
                  <a:ext uri="{FF2B5EF4-FFF2-40B4-BE49-F238E27FC236}">
                    <a16:creationId xmlns:a16="http://schemas.microsoft.com/office/drawing/2014/main" id="{DD7FC9DC-5BE9-6019-20C7-52F9EC3B24B7}"/>
                  </a:ext>
                </a:extLst>
              </p:cNvPr>
              <p:cNvSpPr/>
              <p:nvPr/>
            </p:nvSpPr>
            <p:spPr>
              <a:xfrm>
                <a:off x="1822843" y="4774020"/>
                <a:ext cx="196924" cy="168496"/>
              </a:xfrm>
              <a:custGeom>
                <a:avLst/>
                <a:gdLst>
                  <a:gd name="connsiteX0" fmla="*/ 2678 w 196924"/>
                  <a:gd name="connsiteY0" fmla="*/ 377 h 168496"/>
                  <a:gd name="connsiteX1" fmla="*/ 273 w 196924"/>
                  <a:gd name="connsiteY1" fmla="*/ 1570 h 168496"/>
                  <a:gd name="connsiteX2" fmla="*/ 18259 w 196924"/>
                  <a:gd name="connsiteY2" fmla="*/ 104120 h 168496"/>
                  <a:gd name="connsiteX3" fmla="*/ 63745 w 196924"/>
                  <a:gd name="connsiteY3" fmla="*/ 149010 h 168496"/>
                  <a:gd name="connsiteX4" fmla="*/ 196925 w 196924"/>
                  <a:gd name="connsiteY4" fmla="*/ 156737 h 168496"/>
                  <a:gd name="connsiteX5" fmla="*/ 128196 w 196924"/>
                  <a:gd name="connsiteY5" fmla="*/ 100608 h 168496"/>
                  <a:gd name="connsiteX6" fmla="*/ 100121 w 196924"/>
                  <a:gd name="connsiteY6" fmla="*/ 57357 h 168496"/>
                  <a:gd name="connsiteX7" fmla="*/ 43907 w 196924"/>
                  <a:gd name="connsiteY7" fmla="*/ 8296 h 168496"/>
                  <a:gd name="connsiteX8" fmla="*/ 2678 w 196924"/>
                  <a:gd name="connsiteY8" fmla="*/ 377 h 1684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96924" h="168496">
                    <a:moveTo>
                      <a:pt x="2678" y="377"/>
                    </a:moveTo>
                    <a:cubicBezTo>
                      <a:pt x="571" y="-27"/>
                      <a:pt x="444" y="-580"/>
                      <a:pt x="273" y="1570"/>
                    </a:cubicBezTo>
                    <a:cubicBezTo>
                      <a:pt x="-2366" y="34881"/>
                      <a:pt x="14896" y="100183"/>
                      <a:pt x="18259" y="104120"/>
                    </a:cubicBezTo>
                    <a:cubicBezTo>
                      <a:pt x="22154" y="108696"/>
                      <a:pt x="55614" y="144817"/>
                      <a:pt x="63745" y="149010"/>
                    </a:cubicBezTo>
                    <a:cubicBezTo>
                      <a:pt x="138646" y="187770"/>
                      <a:pt x="196925" y="156737"/>
                      <a:pt x="196925" y="156737"/>
                    </a:cubicBezTo>
                    <a:lnTo>
                      <a:pt x="128196" y="100608"/>
                    </a:lnTo>
                    <a:lnTo>
                      <a:pt x="100121" y="57357"/>
                    </a:lnTo>
                    <a:lnTo>
                      <a:pt x="43907" y="8296"/>
                    </a:lnTo>
                    <a:lnTo>
                      <a:pt x="2678" y="377"/>
                    </a:lnTo>
                    <a:close/>
                  </a:path>
                </a:pathLst>
              </a:custGeom>
              <a:solidFill>
                <a:srgbClr val="FFB4B2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1218" name="Freeform: Shape 1217">
                <a:extLst>
                  <a:ext uri="{FF2B5EF4-FFF2-40B4-BE49-F238E27FC236}">
                    <a16:creationId xmlns:a16="http://schemas.microsoft.com/office/drawing/2014/main" id="{DC0C5413-EC91-0C44-A00A-91C975040A71}"/>
                  </a:ext>
                </a:extLst>
              </p:cNvPr>
              <p:cNvSpPr/>
              <p:nvPr/>
            </p:nvSpPr>
            <p:spPr>
              <a:xfrm>
                <a:off x="2156582" y="2998137"/>
                <a:ext cx="44157" cy="100084"/>
              </a:xfrm>
              <a:custGeom>
                <a:avLst/>
                <a:gdLst>
                  <a:gd name="connsiteX0" fmla="*/ 5625 w 44157"/>
                  <a:gd name="connsiteY0" fmla="*/ 1524 h 100084"/>
                  <a:gd name="connsiteX1" fmla="*/ 44002 w 44157"/>
                  <a:gd name="connsiteY1" fmla="*/ 83280 h 100084"/>
                  <a:gd name="connsiteX2" fmla="*/ 6625 w 44157"/>
                  <a:gd name="connsiteY2" fmla="*/ 98137 h 100084"/>
                  <a:gd name="connsiteX3" fmla="*/ 5625 w 44157"/>
                  <a:gd name="connsiteY3" fmla="*/ 1503 h 1000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4157" h="100084">
                    <a:moveTo>
                      <a:pt x="5625" y="1524"/>
                    </a:moveTo>
                    <a:cubicBezTo>
                      <a:pt x="5625" y="1524"/>
                      <a:pt x="47003" y="73552"/>
                      <a:pt x="44002" y="83280"/>
                    </a:cubicBezTo>
                    <a:cubicBezTo>
                      <a:pt x="40979" y="93007"/>
                      <a:pt x="7775" y="104799"/>
                      <a:pt x="6625" y="98137"/>
                    </a:cubicBezTo>
                    <a:cubicBezTo>
                      <a:pt x="5476" y="91496"/>
                      <a:pt x="-7040" y="-13716"/>
                      <a:pt x="5625" y="1503"/>
                    </a:cubicBezTo>
                    <a:close/>
                  </a:path>
                </a:pathLst>
              </a:custGeom>
              <a:solidFill>
                <a:srgbClr val="008DA2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1219" name="Freeform: Shape 1218">
                <a:extLst>
                  <a:ext uri="{FF2B5EF4-FFF2-40B4-BE49-F238E27FC236}">
                    <a16:creationId xmlns:a16="http://schemas.microsoft.com/office/drawing/2014/main" id="{AC1864AA-8EE8-090E-4935-72A02E2F93CC}"/>
                  </a:ext>
                </a:extLst>
              </p:cNvPr>
              <p:cNvSpPr/>
              <p:nvPr/>
            </p:nvSpPr>
            <p:spPr>
              <a:xfrm>
                <a:off x="1978943" y="3026820"/>
                <a:ext cx="239285" cy="458518"/>
              </a:xfrm>
              <a:custGeom>
                <a:avLst/>
                <a:gdLst>
                  <a:gd name="connsiteX0" fmla="*/ 197865 w 239285"/>
                  <a:gd name="connsiteY0" fmla="*/ 458115 h 458518"/>
                  <a:gd name="connsiteX1" fmla="*/ 0 w 239285"/>
                  <a:gd name="connsiteY1" fmla="*/ 334407 h 458518"/>
                  <a:gd name="connsiteX2" fmla="*/ 55617 w 239285"/>
                  <a:gd name="connsiteY2" fmla="*/ 36568 h 458518"/>
                  <a:gd name="connsiteX3" fmla="*/ 157019 w 239285"/>
                  <a:gd name="connsiteY3" fmla="*/ 0 h 458518"/>
                  <a:gd name="connsiteX4" fmla="*/ 163191 w 239285"/>
                  <a:gd name="connsiteY4" fmla="*/ 27032 h 458518"/>
                  <a:gd name="connsiteX5" fmla="*/ 219277 w 239285"/>
                  <a:gd name="connsiteY5" fmla="*/ 176707 h 458518"/>
                  <a:gd name="connsiteX6" fmla="*/ 239285 w 239285"/>
                  <a:gd name="connsiteY6" fmla="*/ 359949 h 458518"/>
                  <a:gd name="connsiteX7" fmla="*/ 197822 w 239285"/>
                  <a:gd name="connsiteY7" fmla="*/ 458115 h 4585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39285" h="458518">
                    <a:moveTo>
                      <a:pt x="197865" y="458115"/>
                    </a:moveTo>
                    <a:cubicBezTo>
                      <a:pt x="108383" y="466736"/>
                      <a:pt x="0" y="334407"/>
                      <a:pt x="0" y="334407"/>
                    </a:cubicBezTo>
                    <a:lnTo>
                      <a:pt x="55617" y="36568"/>
                    </a:lnTo>
                    <a:lnTo>
                      <a:pt x="157019" y="0"/>
                    </a:lnTo>
                    <a:lnTo>
                      <a:pt x="163191" y="27032"/>
                    </a:lnTo>
                    <a:lnTo>
                      <a:pt x="219277" y="176707"/>
                    </a:lnTo>
                    <a:lnTo>
                      <a:pt x="239285" y="359949"/>
                    </a:lnTo>
                    <a:cubicBezTo>
                      <a:pt x="239285" y="359949"/>
                      <a:pt x="232474" y="454774"/>
                      <a:pt x="197822" y="458115"/>
                    </a:cubicBezTo>
                    <a:close/>
                  </a:path>
                </a:pathLst>
              </a:custGeom>
              <a:solidFill>
                <a:srgbClr val="F6A29B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1220" name="Freeform: Shape 1219">
                <a:extLst>
                  <a:ext uri="{FF2B5EF4-FFF2-40B4-BE49-F238E27FC236}">
                    <a16:creationId xmlns:a16="http://schemas.microsoft.com/office/drawing/2014/main" id="{1F97E456-4CC0-42D5-7279-97EFFF435490}"/>
                  </a:ext>
                </a:extLst>
              </p:cNvPr>
              <p:cNvSpPr/>
              <p:nvPr/>
            </p:nvSpPr>
            <p:spPr>
              <a:xfrm>
                <a:off x="2016253" y="3002556"/>
                <a:ext cx="195759" cy="329566"/>
              </a:xfrm>
              <a:custGeom>
                <a:avLst/>
                <a:gdLst>
                  <a:gd name="connsiteX0" fmla="*/ 195760 w 195759"/>
                  <a:gd name="connsiteY0" fmla="*/ 326383 h 329566"/>
                  <a:gd name="connsiteX1" fmla="*/ 179711 w 195759"/>
                  <a:gd name="connsiteY1" fmla="*/ 328256 h 329566"/>
                  <a:gd name="connsiteX2" fmla="*/ 45 w 195759"/>
                  <a:gd name="connsiteY2" fmla="*/ 158679 h 329566"/>
                  <a:gd name="connsiteX3" fmla="*/ 183904 w 195759"/>
                  <a:gd name="connsiteY3" fmla="*/ 0 h 329566"/>
                  <a:gd name="connsiteX4" fmla="*/ 195760 w 195759"/>
                  <a:gd name="connsiteY4" fmla="*/ 326383 h 3295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95759" h="329566">
                    <a:moveTo>
                      <a:pt x="195760" y="326383"/>
                    </a:moveTo>
                    <a:cubicBezTo>
                      <a:pt x="192780" y="327426"/>
                      <a:pt x="182925" y="327873"/>
                      <a:pt x="179711" y="328256"/>
                    </a:cubicBezTo>
                    <a:cubicBezTo>
                      <a:pt x="62857" y="342240"/>
                      <a:pt x="-1956" y="241520"/>
                      <a:pt x="45" y="158679"/>
                    </a:cubicBezTo>
                    <a:cubicBezTo>
                      <a:pt x="1556" y="95995"/>
                      <a:pt x="121156" y="21242"/>
                      <a:pt x="183904" y="0"/>
                    </a:cubicBezTo>
                    <a:lnTo>
                      <a:pt x="195760" y="326383"/>
                    </a:lnTo>
                    <a:close/>
                  </a:path>
                </a:pathLst>
              </a:custGeom>
              <a:solidFill>
                <a:srgbClr val="FF8C89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1221" name="Freeform: Shape 1220">
                <a:extLst>
                  <a:ext uri="{FF2B5EF4-FFF2-40B4-BE49-F238E27FC236}">
                    <a16:creationId xmlns:a16="http://schemas.microsoft.com/office/drawing/2014/main" id="{EF131DE5-D940-63E9-A29E-686E0A71320B}"/>
                  </a:ext>
                </a:extLst>
              </p:cNvPr>
              <p:cNvSpPr/>
              <p:nvPr/>
            </p:nvSpPr>
            <p:spPr>
              <a:xfrm>
                <a:off x="1916052" y="2991959"/>
                <a:ext cx="130680" cy="134306"/>
              </a:xfrm>
              <a:custGeom>
                <a:avLst/>
                <a:gdLst>
                  <a:gd name="connsiteX0" fmla="*/ 85879 w 130680"/>
                  <a:gd name="connsiteY0" fmla="*/ 27858 h 134306"/>
                  <a:gd name="connsiteX1" fmla="*/ 1740 w 130680"/>
                  <a:gd name="connsiteY1" fmla="*/ 17109 h 134306"/>
                  <a:gd name="connsiteX2" fmla="*/ 101034 w 130680"/>
                  <a:gd name="connsiteY2" fmla="*/ 132346 h 134306"/>
                  <a:gd name="connsiteX3" fmla="*/ 85879 w 130680"/>
                  <a:gd name="connsiteY3" fmla="*/ 27858 h 1343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30680" h="134306">
                    <a:moveTo>
                      <a:pt x="85879" y="27858"/>
                    </a:moveTo>
                    <a:cubicBezTo>
                      <a:pt x="85879" y="27858"/>
                      <a:pt x="12510" y="-26887"/>
                      <a:pt x="1740" y="17109"/>
                    </a:cubicBezTo>
                    <a:cubicBezTo>
                      <a:pt x="-9073" y="61276"/>
                      <a:pt x="31304" y="114062"/>
                      <a:pt x="101034" y="132346"/>
                    </a:cubicBezTo>
                    <a:cubicBezTo>
                      <a:pt x="170763" y="150630"/>
                      <a:pt x="97117" y="35180"/>
                      <a:pt x="85879" y="27858"/>
                    </a:cubicBezTo>
                    <a:close/>
                  </a:path>
                </a:pathLst>
              </a:custGeom>
              <a:solidFill>
                <a:srgbClr val="F6A29B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1222" name="Freeform: Shape 1221">
                <a:extLst>
                  <a:ext uri="{FF2B5EF4-FFF2-40B4-BE49-F238E27FC236}">
                    <a16:creationId xmlns:a16="http://schemas.microsoft.com/office/drawing/2014/main" id="{15B217C6-5374-AC3F-1008-D04968B5410E}"/>
                  </a:ext>
                </a:extLst>
              </p:cNvPr>
              <p:cNvSpPr/>
              <p:nvPr/>
            </p:nvSpPr>
            <p:spPr>
              <a:xfrm>
                <a:off x="2210822" y="2999580"/>
                <a:ext cx="126948" cy="120715"/>
              </a:xfrm>
              <a:custGeom>
                <a:avLst/>
                <a:gdLst>
                  <a:gd name="connsiteX0" fmla="*/ 47060 w 126948"/>
                  <a:gd name="connsiteY0" fmla="*/ 23452 h 120715"/>
                  <a:gd name="connsiteX1" fmla="*/ 126069 w 126948"/>
                  <a:gd name="connsiteY1" fmla="*/ 16598 h 120715"/>
                  <a:gd name="connsiteX2" fmla="*/ 26796 w 126948"/>
                  <a:gd name="connsiteY2" fmla="*/ 119362 h 120715"/>
                  <a:gd name="connsiteX3" fmla="*/ 47081 w 126948"/>
                  <a:gd name="connsiteY3" fmla="*/ 23431 h 1207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26948" h="120715">
                    <a:moveTo>
                      <a:pt x="47060" y="23452"/>
                    </a:moveTo>
                    <a:cubicBezTo>
                      <a:pt x="47060" y="23452"/>
                      <a:pt x="118620" y="-24396"/>
                      <a:pt x="126069" y="16598"/>
                    </a:cubicBezTo>
                    <a:cubicBezTo>
                      <a:pt x="133540" y="57785"/>
                      <a:pt x="92801" y="105037"/>
                      <a:pt x="26796" y="119362"/>
                    </a:cubicBezTo>
                    <a:cubicBezTo>
                      <a:pt x="-39229" y="133687"/>
                      <a:pt x="36183" y="29774"/>
                      <a:pt x="47081" y="23431"/>
                    </a:cubicBezTo>
                    <a:close/>
                  </a:path>
                </a:pathLst>
              </a:custGeom>
              <a:solidFill>
                <a:srgbClr val="EA918C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1223" name="Freeform: Shape 1222">
                <a:extLst>
                  <a:ext uri="{FF2B5EF4-FFF2-40B4-BE49-F238E27FC236}">
                    <a16:creationId xmlns:a16="http://schemas.microsoft.com/office/drawing/2014/main" id="{F30BE855-45E4-F9DE-1C62-81F58DC87DFD}"/>
                  </a:ext>
                </a:extLst>
              </p:cNvPr>
              <p:cNvSpPr/>
              <p:nvPr/>
            </p:nvSpPr>
            <p:spPr>
              <a:xfrm>
                <a:off x="2222330" y="2806492"/>
                <a:ext cx="83296" cy="222195"/>
              </a:xfrm>
              <a:custGeom>
                <a:avLst/>
                <a:gdLst>
                  <a:gd name="connsiteX0" fmla="*/ 50898 w 83296"/>
                  <a:gd name="connsiteY0" fmla="*/ 33298 h 222195"/>
                  <a:gd name="connsiteX1" fmla="*/ 75546 w 83296"/>
                  <a:gd name="connsiteY1" fmla="*/ 194425 h 222195"/>
                  <a:gd name="connsiteX2" fmla="*/ 2347 w 83296"/>
                  <a:gd name="connsiteY2" fmla="*/ 186166 h 222195"/>
                  <a:gd name="connsiteX3" fmla="*/ 50898 w 83296"/>
                  <a:gd name="connsiteY3" fmla="*/ 33298 h 2221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3296" h="222195">
                    <a:moveTo>
                      <a:pt x="50898" y="33298"/>
                    </a:moveTo>
                    <a:cubicBezTo>
                      <a:pt x="50898" y="33298"/>
                      <a:pt x="102386" y="127441"/>
                      <a:pt x="75546" y="194425"/>
                    </a:cubicBezTo>
                    <a:cubicBezTo>
                      <a:pt x="48706" y="261408"/>
                      <a:pt x="2347" y="186166"/>
                      <a:pt x="2347" y="186166"/>
                    </a:cubicBezTo>
                    <a:cubicBezTo>
                      <a:pt x="-5847" y="251234"/>
                      <a:pt x="6732" y="-108225"/>
                      <a:pt x="50898" y="33298"/>
                    </a:cubicBezTo>
                    <a:close/>
                  </a:path>
                </a:pathLst>
              </a:custGeom>
              <a:solidFill>
                <a:schemeClr val="tx2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1224" name="Freeform: Shape 1223">
                <a:extLst>
                  <a:ext uri="{FF2B5EF4-FFF2-40B4-BE49-F238E27FC236}">
                    <a16:creationId xmlns:a16="http://schemas.microsoft.com/office/drawing/2014/main" id="{94D36BE4-FA9B-28BE-A8CD-5CC3E5A371B9}"/>
                  </a:ext>
                </a:extLst>
              </p:cNvPr>
              <p:cNvSpPr/>
              <p:nvPr/>
            </p:nvSpPr>
            <p:spPr>
              <a:xfrm>
                <a:off x="1992596" y="2833551"/>
                <a:ext cx="297512" cy="461698"/>
              </a:xfrm>
              <a:custGeom>
                <a:avLst/>
                <a:gdLst>
                  <a:gd name="connsiteX0" fmla="*/ 96987 w 297512"/>
                  <a:gd name="connsiteY0" fmla="*/ 434918 h 461698"/>
                  <a:gd name="connsiteX1" fmla="*/ 288721 w 297512"/>
                  <a:gd name="connsiteY1" fmla="*/ 301929 h 461698"/>
                  <a:gd name="connsiteX2" fmla="*/ 290275 w 297512"/>
                  <a:gd name="connsiteY2" fmla="*/ 293862 h 461698"/>
                  <a:gd name="connsiteX3" fmla="*/ 295852 w 297512"/>
                  <a:gd name="connsiteY3" fmla="*/ 239905 h 461698"/>
                  <a:gd name="connsiteX4" fmla="*/ 296384 w 297512"/>
                  <a:gd name="connsiteY4" fmla="*/ 227411 h 461698"/>
                  <a:gd name="connsiteX5" fmla="*/ 296852 w 297512"/>
                  <a:gd name="connsiteY5" fmla="*/ 214725 h 461698"/>
                  <a:gd name="connsiteX6" fmla="*/ 297129 w 297512"/>
                  <a:gd name="connsiteY6" fmla="*/ 203508 h 461698"/>
                  <a:gd name="connsiteX7" fmla="*/ 190215 w 297512"/>
                  <a:gd name="connsiteY7" fmla="*/ 3110 h 461698"/>
                  <a:gd name="connsiteX8" fmla="*/ 5376 w 297512"/>
                  <a:gd name="connsiteY8" fmla="*/ 140207 h 461698"/>
                  <a:gd name="connsiteX9" fmla="*/ 96965 w 297512"/>
                  <a:gd name="connsiteY9" fmla="*/ 434896 h 4616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97512" h="461698">
                    <a:moveTo>
                      <a:pt x="96987" y="434918"/>
                    </a:moveTo>
                    <a:cubicBezTo>
                      <a:pt x="224973" y="519291"/>
                      <a:pt x="272140" y="384685"/>
                      <a:pt x="288721" y="301929"/>
                    </a:cubicBezTo>
                    <a:cubicBezTo>
                      <a:pt x="289275" y="299184"/>
                      <a:pt x="289785" y="296481"/>
                      <a:pt x="290275" y="293862"/>
                    </a:cubicBezTo>
                    <a:cubicBezTo>
                      <a:pt x="293638" y="275685"/>
                      <a:pt x="295170" y="253570"/>
                      <a:pt x="295852" y="239905"/>
                    </a:cubicBezTo>
                    <a:cubicBezTo>
                      <a:pt x="296192" y="233264"/>
                      <a:pt x="296320" y="228645"/>
                      <a:pt x="296384" y="227411"/>
                    </a:cubicBezTo>
                    <a:cubicBezTo>
                      <a:pt x="296575" y="223111"/>
                      <a:pt x="296703" y="218897"/>
                      <a:pt x="296852" y="214725"/>
                    </a:cubicBezTo>
                    <a:cubicBezTo>
                      <a:pt x="296980" y="210873"/>
                      <a:pt x="297065" y="207148"/>
                      <a:pt x="297129" y="203508"/>
                    </a:cubicBezTo>
                    <a:cubicBezTo>
                      <a:pt x="301662" y="20458"/>
                      <a:pt x="266053" y="17329"/>
                      <a:pt x="190215" y="3110"/>
                    </a:cubicBezTo>
                    <a:cubicBezTo>
                      <a:pt x="111141" y="-11661"/>
                      <a:pt x="26959" y="24906"/>
                      <a:pt x="5376" y="140207"/>
                    </a:cubicBezTo>
                    <a:cubicBezTo>
                      <a:pt x="-16185" y="255443"/>
                      <a:pt x="29684" y="390539"/>
                      <a:pt x="96965" y="434896"/>
                    </a:cubicBezTo>
                    <a:close/>
                  </a:path>
                </a:pathLst>
              </a:custGeom>
              <a:solidFill>
                <a:srgbClr val="F6A29B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1225" name="Freeform: Shape 1224">
                <a:extLst>
                  <a:ext uri="{FF2B5EF4-FFF2-40B4-BE49-F238E27FC236}">
                    <a16:creationId xmlns:a16="http://schemas.microsoft.com/office/drawing/2014/main" id="{1FFC9FBA-AFFC-C505-A320-D9E9529F45CC}"/>
                  </a:ext>
                </a:extLst>
              </p:cNvPr>
              <p:cNvSpPr/>
              <p:nvPr/>
            </p:nvSpPr>
            <p:spPr>
              <a:xfrm>
                <a:off x="1947946" y="2775712"/>
                <a:ext cx="381323" cy="245024"/>
              </a:xfrm>
              <a:custGeom>
                <a:avLst/>
                <a:gdLst>
                  <a:gd name="connsiteX0" fmla="*/ 373599 w 381323"/>
                  <a:gd name="connsiteY0" fmla="*/ 46944 h 245024"/>
                  <a:gd name="connsiteX1" fmla="*/ 355741 w 381323"/>
                  <a:gd name="connsiteY1" fmla="*/ 139810 h 245024"/>
                  <a:gd name="connsiteX2" fmla="*/ 263258 w 381323"/>
                  <a:gd name="connsiteY2" fmla="*/ 151219 h 245024"/>
                  <a:gd name="connsiteX3" fmla="*/ 96661 w 381323"/>
                  <a:gd name="connsiteY3" fmla="*/ 115907 h 245024"/>
                  <a:gd name="connsiteX4" fmla="*/ 84465 w 381323"/>
                  <a:gd name="connsiteY4" fmla="*/ 240424 h 245024"/>
                  <a:gd name="connsiteX5" fmla="*/ 22398 w 381323"/>
                  <a:gd name="connsiteY5" fmla="*/ 225907 h 245024"/>
                  <a:gd name="connsiteX6" fmla="*/ 88424 w 381323"/>
                  <a:gd name="connsiteY6" fmla="*/ 1075 h 245024"/>
                  <a:gd name="connsiteX7" fmla="*/ 373620 w 381323"/>
                  <a:gd name="connsiteY7" fmla="*/ 46922 h 2450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81323" h="245024">
                    <a:moveTo>
                      <a:pt x="373599" y="46944"/>
                    </a:moveTo>
                    <a:cubicBezTo>
                      <a:pt x="389456" y="59161"/>
                      <a:pt x="379623" y="129721"/>
                      <a:pt x="355741" y="139810"/>
                    </a:cubicBezTo>
                    <a:cubicBezTo>
                      <a:pt x="342629" y="145365"/>
                      <a:pt x="302550" y="153304"/>
                      <a:pt x="263258" y="151219"/>
                    </a:cubicBezTo>
                    <a:cubicBezTo>
                      <a:pt x="216921" y="148750"/>
                      <a:pt x="96661" y="115907"/>
                      <a:pt x="96661" y="115907"/>
                    </a:cubicBezTo>
                    <a:cubicBezTo>
                      <a:pt x="96661" y="115907"/>
                      <a:pt x="97874" y="219948"/>
                      <a:pt x="84465" y="240424"/>
                    </a:cubicBezTo>
                    <a:cubicBezTo>
                      <a:pt x="74035" y="256323"/>
                      <a:pt x="22398" y="225907"/>
                      <a:pt x="22398" y="225907"/>
                    </a:cubicBezTo>
                    <a:cubicBezTo>
                      <a:pt x="22398" y="225907"/>
                      <a:pt x="-58953" y="43389"/>
                      <a:pt x="88424" y="1075"/>
                    </a:cubicBezTo>
                    <a:cubicBezTo>
                      <a:pt x="114838" y="-6503"/>
                      <a:pt x="348866" y="27809"/>
                      <a:pt x="373620" y="46922"/>
                    </a:cubicBezTo>
                    <a:close/>
                  </a:path>
                </a:pathLst>
              </a:custGeom>
              <a:solidFill>
                <a:schemeClr val="tx2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1233" name="Freeform: Shape 1232">
                <a:extLst>
                  <a:ext uri="{FF2B5EF4-FFF2-40B4-BE49-F238E27FC236}">
                    <a16:creationId xmlns:a16="http://schemas.microsoft.com/office/drawing/2014/main" id="{365BE3E4-9A5D-3570-5803-506A169DD4E2}"/>
                  </a:ext>
                </a:extLst>
              </p:cNvPr>
              <p:cNvSpPr/>
              <p:nvPr/>
            </p:nvSpPr>
            <p:spPr>
              <a:xfrm>
                <a:off x="1964974" y="3034455"/>
                <a:ext cx="36731" cy="51963"/>
              </a:xfrm>
              <a:custGeom>
                <a:avLst/>
                <a:gdLst>
                  <a:gd name="connsiteX0" fmla="*/ 20887 w 36731"/>
                  <a:gd name="connsiteY0" fmla="*/ 51942 h 51963"/>
                  <a:gd name="connsiteX1" fmla="*/ 18801 w 36731"/>
                  <a:gd name="connsiteY1" fmla="*/ 51410 h 51963"/>
                  <a:gd name="connsiteX2" fmla="*/ 17141 w 36731"/>
                  <a:gd name="connsiteY2" fmla="*/ 45578 h 51963"/>
                  <a:gd name="connsiteX3" fmla="*/ 27656 w 36731"/>
                  <a:gd name="connsiteY3" fmla="*/ 26634 h 51963"/>
                  <a:gd name="connsiteX4" fmla="*/ 27996 w 36731"/>
                  <a:gd name="connsiteY4" fmla="*/ 25996 h 51963"/>
                  <a:gd name="connsiteX5" fmla="*/ 27251 w 36731"/>
                  <a:gd name="connsiteY5" fmla="*/ 25442 h 51963"/>
                  <a:gd name="connsiteX6" fmla="*/ 1837 w 36731"/>
                  <a:gd name="connsiteY6" fmla="*/ 7797 h 51963"/>
                  <a:gd name="connsiteX7" fmla="*/ 773 w 36731"/>
                  <a:gd name="connsiteY7" fmla="*/ 1837 h 51963"/>
                  <a:gd name="connsiteX8" fmla="*/ 6733 w 36731"/>
                  <a:gd name="connsiteY8" fmla="*/ 773 h 51963"/>
                  <a:gd name="connsiteX9" fmla="*/ 32147 w 36731"/>
                  <a:gd name="connsiteY9" fmla="*/ 18418 h 51963"/>
                  <a:gd name="connsiteX10" fmla="*/ 36659 w 36731"/>
                  <a:gd name="connsiteY10" fmla="*/ 24697 h 51963"/>
                  <a:gd name="connsiteX11" fmla="*/ 35148 w 36731"/>
                  <a:gd name="connsiteY11" fmla="*/ 30806 h 51963"/>
                  <a:gd name="connsiteX12" fmla="*/ 24633 w 36731"/>
                  <a:gd name="connsiteY12" fmla="*/ 49750 h 51963"/>
                  <a:gd name="connsiteX13" fmla="*/ 20887 w 36731"/>
                  <a:gd name="connsiteY13" fmla="*/ 51963 h 519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36731" h="51963">
                    <a:moveTo>
                      <a:pt x="20887" y="51942"/>
                    </a:moveTo>
                    <a:cubicBezTo>
                      <a:pt x="20185" y="51942"/>
                      <a:pt x="19461" y="51772"/>
                      <a:pt x="18801" y="51410"/>
                    </a:cubicBezTo>
                    <a:cubicBezTo>
                      <a:pt x="16737" y="50260"/>
                      <a:pt x="15992" y="47642"/>
                      <a:pt x="17141" y="45578"/>
                    </a:cubicBezTo>
                    <a:lnTo>
                      <a:pt x="27656" y="26634"/>
                    </a:lnTo>
                    <a:cubicBezTo>
                      <a:pt x="27720" y="26506"/>
                      <a:pt x="27869" y="26230"/>
                      <a:pt x="27996" y="25996"/>
                    </a:cubicBezTo>
                    <a:cubicBezTo>
                      <a:pt x="27826" y="25868"/>
                      <a:pt x="27592" y="25676"/>
                      <a:pt x="27251" y="25442"/>
                    </a:cubicBezTo>
                    <a:lnTo>
                      <a:pt x="1837" y="7797"/>
                    </a:lnTo>
                    <a:cubicBezTo>
                      <a:pt x="-100" y="6456"/>
                      <a:pt x="-589" y="3774"/>
                      <a:pt x="773" y="1837"/>
                    </a:cubicBezTo>
                    <a:cubicBezTo>
                      <a:pt x="2114" y="-100"/>
                      <a:pt x="4796" y="-589"/>
                      <a:pt x="6733" y="773"/>
                    </a:cubicBezTo>
                    <a:lnTo>
                      <a:pt x="32147" y="18418"/>
                    </a:lnTo>
                    <a:cubicBezTo>
                      <a:pt x="33445" y="19333"/>
                      <a:pt x="36170" y="21207"/>
                      <a:pt x="36659" y="24697"/>
                    </a:cubicBezTo>
                    <a:cubicBezTo>
                      <a:pt x="37043" y="27400"/>
                      <a:pt x="35808" y="29614"/>
                      <a:pt x="35148" y="30806"/>
                    </a:cubicBezTo>
                    <a:lnTo>
                      <a:pt x="24633" y="49750"/>
                    </a:lnTo>
                    <a:cubicBezTo>
                      <a:pt x="23846" y="51154"/>
                      <a:pt x="22377" y="51963"/>
                      <a:pt x="20887" y="51963"/>
                    </a:cubicBezTo>
                    <a:close/>
                  </a:path>
                </a:pathLst>
              </a:custGeom>
              <a:solidFill>
                <a:srgbClr val="D26C6C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grpSp>
            <p:nvGrpSpPr>
              <p:cNvPr id="1235" name="Graphic 1191">
                <a:extLst>
                  <a:ext uri="{FF2B5EF4-FFF2-40B4-BE49-F238E27FC236}">
                    <a16:creationId xmlns:a16="http://schemas.microsoft.com/office/drawing/2014/main" id="{B25FFBF6-A454-556C-2514-FFC070D589F3}"/>
                  </a:ext>
                </a:extLst>
              </p:cNvPr>
              <p:cNvGrpSpPr/>
              <p:nvPr/>
            </p:nvGrpSpPr>
            <p:grpSpPr>
              <a:xfrm>
                <a:off x="1562500" y="3424379"/>
                <a:ext cx="463376" cy="1501665"/>
                <a:chOff x="1562500" y="3424379"/>
                <a:chExt cx="463376" cy="1501665"/>
              </a:xfrm>
            </p:grpSpPr>
            <p:sp>
              <p:nvSpPr>
                <p:cNvPr id="1236" name="Freeform: Shape 1235">
                  <a:extLst>
                    <a:ext uri="{FF2B5EF4-FFF2-40B4-BE49-F238E27FC236}">
                      <a16:creationId xmlns:a16="http://schemas.microsoft.com/office/drawing/2014/main" id="{05B06DF5-DCDA-24B3-A916-5CF34A956CDF}"/>
                    </a:ext>
                  </a:extLst>
                </p:cNvPr>
                <p:cNvSpPr/>
                <p:nvPr/>
              </p:nvSpPr>
              <p:spPr>
                <a:xfrm>
                  <a:off x="1848233" y="4744583"/>
                  <a:ext cx="177644" cy="181461"/>
                </a:xfrm>
                <a:custGeom>
                  <a:avLst/>
                  <a:gdLst>
                    <a:gd name="connsiteX0" fmla="*/ 21 w 177644"/>
                    <a:gd name="connsiteY0" fmla="*/ 1292 h 181461"/>
                    <a:gd name="connsiteX1" fmla="*/ 144035 w 177644"/>
                    <a:gd name="connsiteY1" fmla="*/ 85942 h 181461"/>
                    <a:gd name="connsiteX2" fmla="*/ 175537 w 177644"/>
                    <a:gd name="connsiteY2" fmla="*/ 165761 h 181461"/>
                    <a:gd name="connsiteX3" fmla="*/ 155486 w 177644"/>
                    <a:gd name="connsiteY3" fmla="*/ 172423 h 181461"/>
                    <a:gd name="connsiteX4" fmla="*/ 124048 w 177644"/>
                    <a:gd name="connsiteY4" fmla="*/ 125383 h 181461"/>
                    <a:gd name="connsiteX5" fmla="*/ 67282 w 177644"/>
                    <a:gd name="connsiteY5" fmla="*/ 127171 h 181461"/>
                    <a:gd name="connsiteX6" fmla="*/ 0 w 177644"/>
                    <a:gd name="connsiteY6" fmla="*/ 1271 h 18146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77644" h="181461">
                      <a:moveTo>
                        <a:pt x="21" y="1292"/>
                      </a:moveTo>
                      <a:cubicBezTo>
                        <a:pt x="21" y="1292"/>
                        <a:pt x="67090" y="-17226"/>
                        <a:pt x="144035" y="85942"/>
                      </a:cubicBezTo>
                      <a:cubicBezTo>
                        <a:pt x="156806" y="103077"/>
                        <a:pt x="171599" y="156757"/>
                        <a:pt x="175537" y="165761"/>
                      </a:cubicBezTo>
                      <a:cubicBezTo>
                        <a:pt x="183774" y="184619"/>
                        <a:pt x="165916" y="186045"/>
                        <a:pt x="155486" y="172423"/>
                      </a:cubicBezTo>
                      <a:cubicBezTo>
                        <a:pt x="152038" y="167911"/>
                        <a:pt x="129008" y="129960"/>
                        <a:pt x="124048" y="125383"/>
                      </a:cubicBezTo>
                      <a:cubicBezTo>
                        <a:pt x="85629" y="89965"/>
                        <a:pt x="76391" y="127384"/>
                        <a:pt x="67282" y="127171"/>
                      </a:cubicBezTo>
                      <a:cubicBezTo>
                        <a:pt x="58150" y="126980"/>
                        <a:pt x="0" y="1271"/>
                        <a:pt x="0" y="1271"/>
                      </a:cubicBezTo>
                      <a:close/>
                    </a:path>
                  </a:pathLst>
                </a:custGeom>
                <a:solidFill>
                  <a:srgbClr val="FFB4B2"/>
                </a:solidFill>
                <a:ln w="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GB"/>
                </a:p>
              </p:txBody>
            </p:sp>
            <p:sp>
              <p:nvSpPr>
                <p:cNvPr id="1237" name="Freeform: Shape 1236">
                  <a:extLst>
                    <a:ext uri="{FF2B5EF4-FFF2-40B4-BE49-F238E27FC236}">
                      <a16:creationId xmlns:a16="http://schemas.microsoft.com/office/drawing/2014/main" id="{F760E70C-C33C-A798-5544-33323FBA9E9E}"/>
                    </a:ext>
                  </a:extLst>
                </p:cNvPr>
                <p:cNvSpPr/>
                <p:nvPr/>
              </p:nvSpPr>
              <p:spPr>
                <a:xfrm>
                  <a:off x="1759709" y="4592794"/>
                  <a:ext cx="179304" cy="250502"/>
                </a:xfrm>
                <a:custGeom>
                  <a:avLst/>
                  <a:gdLst>
                    <a:gd name="connsiteX0" fmla="*/ 179304 w 179304"/>
                    <a:gd name="connsiteY0" fmla="*/ 205655 h 250502"/>
                    <a:gd name="connsiteX1" fmla="*/ 73965 w 179304"/>
                    <a:gd name="connsiteY1" fmla="*/ 250502 h 250502"/>
                    <a:gd name="connsiteX2" fmla="*/ 0 w 179304"/>
                    <a:gd name="connsiteY2" fmla="*/ 0 h 250502"/>
                    <a:gd name="connsiteX3" fmla="*/ 114002 w 179304"/>
                    <a:gd name="connsiteY3" fmla="*/ 52723 h 250502"/>
                    <a:gd name="connsiteX4" fmla="*/ 179304 w 179304"/>
                    <a:gd name="connsiteY4" fmla="*/ 205655 h 25050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79304" h="250502">
                      <a:moveTo>
                        <a:pt x="179304" y="205655"/>
                      </a:moveTo>
                      <a:lnTo>
                        <a:pt x="73965" y="250502"/>
                      </a:lnTo>
                      <a:lnTo>
                        <a:pt x="0" y="0"/>
                      </a:lnTo>
                      <a:lnTo>
                        <a:pt x="114002" y="52723"/>
                      </a:lnTo>
                      <a:lnTo>
                        <a:pt x="179304" y="205655"/>
                      </a:lnTo>
                      <a:close/>
                    </a:path>
                  </a:pathLst>
                </a:custGeom>
                <a:solidFill>
                  <a:srgbClr val="FFB4B2"/>
                </a:solidFill>
                <a:ln w="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GB"/>
                </a:p>
              </p:txBody>
            </p:sp>
            <p:sp>
              <p:nvSpPr>
                <p:cNvPr id="1238" name="Freeform: Shape 1237">
                  <a:extLst>
                    <a:ext uri="{FF2B5EF4-FFF2-40B4-BE49-F238E27FC236}">
                      <a16:creationId xmlns:a16="http://schemas.microsoft.com/office/drawing/2014/main" id="{9B7A833F-5F4D-C7DD-92AB-39F6753408E3}"/>
                    </a:ext>
                  </a:extLst>
                </p:cNvPr>
                <p:cNvSpPr/>
                <p:nvPr/>
              </p:nvSpPr>
              <p:spPr>
                <a:xfrm>
                  <a:off x="1562500" y="3424379"/>
                  <a:ext cx="350715" cy="1344867"/>
                </a:xfrm>
                <a:custGeom>
                  <a:avLst/>
                  <a:gdLst>
                    <a:gd name="connsiteX0" fmla="*/ 230711 w 350715"/>
                    <a:gd name="connsiteY0" fmla="*/ 512 h 1344867"/>
                    <a:gd name="connsiteX1" fmla="*/ 90358 w 350715"/>
                    <a:gd name="connsiteY1" fmla="*/ 164448 h 1344867"/>
                    <a:gd name="connsiteX2" fmla="*/ 3622 w 350715"/>
                    <a:gd name="connsiteY2" fmla="*/ 865446 h 1344867"/>
                    <a:gd name="connsiteX3" fmla="*/ 242460 w 350715"/>
                    <a:gd name="connsiteY3" fmla="*/ 1344867 h 1344867"/>
                    <a:gd name="connsiteX4" fmla="*/ 350715 w 350715"/>
                    <a:gd name="connsiteY4" fmla="*/ 1310492 h 1344867"/>
                    <a:gd name="connsiteX5" fmla="*/ 214960 w 350715"/>
                    <a:gd name="connsiteY5" fmla="*/ 803592 h 1344867"/>
                    <a:gd name="connsiteX6" fmla="*/ 230689 w 350715"/>
                    <a:gd name="connsiteY6" fmla="*/ 512 h 134486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50715" h="1344867">
                      <a:moveTo>
                        <a:pt x="230711" y="512"/>
                      </a:moveTo>
                      <a:cubicBezTo>
                        <a:pt x="165366" y="11239"/>
                        <a:pt x="107556" y="87780"/>
                        <a:pt x="90358" y="164448"/>
                      </a:cubicBezTo>
                      <a:cubicBezTo>
                        <a:pt x="67775" y="264977"/>
                        <a:pt x="-18600" y="729563"/>
                        <a:pt x="3622" y="865446"/>
                      </a:cubicBezTo>
                      <a:cubicBezTo>
                        <a:pt x="27738" y="1012822"/>
                        <a:pt x="242460" y="1344867"/>
                        <a:pt x="242460" y="1344867"/>
                      </a:cubicBezTo>
                      <a:lnTo>
                        <a:pt x="350715" y="1310492"/>
                      </a:lnTo>
                      <a:cubicBezTo>
                        <a:pt x="350715" y="1310492"/>
                        <a:pt x="194356" y="932450"/>
                        <a:pt x="214960" y="803592"/>
                      </a:cubicBezTo>
                      <a:cubicBezTo>
                        <a:pt x="320469" y="144142"/>
                        <a:pt x="284157" y="-10216"/>
                        <a:pt x="230689" y="512"/>
                      </a:cubicBezTo>
                      <a:close/>
                    </a:path>
                  </a:pathLst>
                </a:custGeom>
                <a:solidFill>
                  <a:schemeClr val="accent4">
                    <a:lumMod val="40000"/>
                    <a:lumOff val="60000"/>
                  </a:schemeClr>
                </a:solidFill>
                <a:ln w="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GB"/>
                </a:p>
              </p:txBody>
            </p:sp>
          </p:grpSp>
          <p:sp>
            <p:nvSpPr>
              <p:cNvPr id="1239" name="Freeform: Shape 1238">
                <a:extLst>
                  <a:ext uri="{FF2B5EF4-FFF2-40B4-BE49-F238E27FC236}">
                    <a16:creationId xmlns:a16="http://schemas.microsoft.com/office/drawing/2014/main" id="{C889FC37-5D0F-3676-3C08-DD7E952B9DFB}"/>
                  </a:ext>
                </a:extLst>
              </p:cNvPr>
              <p:cNvSpPr/>
              <p:nvPr/>
            </p:nvSpPr>
            <p:spPr>
              <a:xfrm>
                <a:off x="1938960" y="4839838"/>
                <a:ext cx="112309" cy="150319"/>
              </a:xfrm>
              <a:custGeom>
                <a:avLst/>
                <a:gdLst>
                  <a:gd name="connsiteX0" fmla="*/ 39494 w 112309"/>
                  <a:gd name="connsiteY0" fmla="*/ 585 h 150319"/>
                  <a:gd name="connsiteX1" fmla="*/ 542 w 112309"/>
                  <a:gd name="connsiteY1" fmla="*/ 17272 h 150319"/>
                  <a:gd name="connsiteX2" fmla="*/ 66121 w 112309"/>
                  <a:gd name="connsiteY2" fmla="*/ 145620 h 150319"/>
                  <a:gd name="connsiteX3" fmla="*/ 112309 w 112309"/>
                  <a:gd name="connsiteY3" fmla="*/ 123910 h 150319"/>
                  <a:gd name="connsiteX4" fmla="*/ 39515 w 112309"/>
                  <a:gd name="connsiteY4" fmla="*/ 563 h 1503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12309" h="150319">
                    <a:moveTo>
                      <a:pt x="39494" y="585"/>
                    </a:moveTo>
                    <a:cubicBezTo>
                      <a:pt x="18273" y="-3012"/>
                      <a:pt x="-3757" y="10908"/>
                      <a:pt x="542" y="17272"/>
                    </a:cubicBezTo>
                    <a:cubicBezTo>
                      <a:pt x="76593" y="64567"/>
                      <a:pt x="72954" y="127826"/>
                      <a:pt x="66121" y="145620"/>
                    </a:cubicBezTo>
                    <a:cubicBezTo>
                      <a:pt x="59182" y="163670"/>
                      <a:pt x="112309" y="123910"/>
                      <a:pt x="112309" y="123910"/>
                    </a:cubicBezTo>
                    <a:cubicBezTo>
                      <a:pt x="112309" y="123910"/>
                      <a:pt x="96622" y="10248"/>
                      <a:pt x="39515" y="563"/>
                    </a:cubicBezTo>
                    <a:close/>
                  </a:path>
                </a:pathLst>
              </a:custGeom>
              <a:solidFill>
                <a:schemeClr val="tx2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1240" name="Freeform: Shape 1239">
                <a:extLst>
                  <a:ext uri="{FF2B5EF4-FFF2-40B4-BE49-F238E27FC236}">
                    <a16:creationId xmlns:a16="http://schemas.microsoft.com/office/drawing/2014/main" id="{B8B22619-EF9C-CD13-448B-04105CA5B1B3}"/>
                  </a:ext>
                </a:extLst>
              </p:cNvPr>
              <p:cNvSpPr/>
              <p:nvPr/>
            </p:nvSpPr>
            <p:spPr>
              <a:xfrm>
                <a:off x="1587876" y="4955958"/>
                <a:ext cx="735457" cy="522395"/>
              </a:xfrm>
              <a:custGeom>
                <a:avLst/>
                <a:gdLst>
                  <a:gd name="connsiteX0" fmla="*/ 41633 w 735457"/>
                  <a:gd name="connsiteY0" fmla="*/ 0 h 522395"/>
                  <a:gd name="connsiteX1" fmla="*/ 693824 w 735457"/>
                  <a:gd name="connsiteY1" fmla="*/ 0 h 522395"/>
                  <a:gd name="connsiteX2" fmla="*/ 735458 w 735457"/>
                  <a:gd name="connsiteY2" fmla="*/ 41633 h 522395"/>
                  <a:gd name="connsiteX3" fmla="*/ 735458 w 735457"/>
                  <a:gd name="connsiteY3" fmla="*/ 480762 h 522395"/>
                  <a:gd name="connsiteX4" fmla="*/ 693824 w 735457"/>
                  <a:gd name="connsiteY4" fmla="*/ 522396 h 522395"/>
                  <a:gd name="connsiteX5" fmla="*/ 41633 w 735457"/>
                  <a:gd name="connsiteY5" fmla="*/ 522396 h 522395"/>
                  <a:gd name="connsiteX6" fmla="*/ 0 w 735457"/>
                  <a:gd name="connsiteY6" fmla="*/ 480762 h 522395"/>
                  <a:gd name="connsiteX7" fmla="*/ 0 w 735457"/>
                  <a:gd name="connsiteY7" fmla="*/ 41633 h 522395"/>
                  <a:gd name="connsiteX8" fmla="*/ 41633 w 735457"/>
                  <a:gd name="connsiteY8" fmla="*/ 0 h 5223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735457" h="522395">
                    <a:moveTo>
                      <a:pt x="41633" y="0"/>
                    </a:moveTo>
                    <a:lnTo>
                      <a:pt x="693824" y="0"/>
                    </a:lnTo>
                    <a:cubicBezTo>
                      <a:pt x="716791" y="0"/>
                      <a:pt x="735458" y="18646"/>
                      <a:pt x="735458" y="41633"/>
                    </a:cubicBezTo>
                    <a:lnTo>
                      <a:pt x="735458" y="480762"/>
                    </a:lnTo>
                    <a:cubicBezTo>
                      <a:pt x="735458" y="503729"/>
                      <a:pt x="716812" y="522396"/>
                      <a:pt x="693824" y="522396"/>
                    </a:cubicBezTo>
                    <a:lnTo>
                      <a:pt x="41633" y="522396"/>
                    </a:lnTo>
                    <a:cubicBezTo>
                      <a:pt x="18667" y="522396"/>
                      <a:pt x="0" y="503750"/>
                      <a:pt x="0" y="480762"/>
                    </a:cubicBezTo>
                    <a:lnTo>
                      <a:pt x="0" y="41633"/>
                    </a:lnTo>
                    <a:cubicBezTo>
                      <a:pt x="0" y="18667"/>
                      <a:pt x="18646" y="0"/>
                      <a:pt x="41633" y="0"/>
                    </a:cubicBezTo>
                    <a:close/>
                  </a:path>
                </a:pathLst>
              </a:custGeom>
              <a:solidFill>
                <a:schemeClr val="tx2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1241" name="Freeform: Shape 1240">
                <a:extLst>
                  <a:ext uri="{FF2B5EF4-FFF2-40B4-BE49-F238E27FC236}">
                    <a16:creationId xmlns:a16="http://schemas.microsoft.com/office/drawing/2014/main" id="{85AE740E-8012-1649-FF69-BCE85D45B848}"/>
                  </a:ext>
                </a:extLst>
              </p:cNvPr>
              <p:cNvSpPr/>
              <p:nvPr/>
            </p:nvSpPr>
            <p:spPr>
              <a:xfrm>
                <a:off x="1904638" y="5119788"/>
                <a:ext cx="127156" cy="32650"/>
              </a:xfrm>
              <a:custGeom>
                <a:avLst/>
                <a:gdLst>
                  <a:gd name="connsiteX0" fmla="*/ 110831 w 127156"/>
                  <a:gd name="connsiteY0" fmla="*/ 32651 h 32650"/>
                  <a:gd name="connsiteX1" fmla="*/ 16325 w 127156"/>
                  <a:gd name="connsiteY1" fmla="*/ 32651 h 32650"/>
                  <a:gd name="connsiteX2" fmla="*/ 0 w 127156"/>
                  <a:gd name="connsiteY2" fmla="*/ 16326 h 32650"/>
                  <a:gd name="connsiteX3" fmla="*/ 0 w 127156"/>
                  <a:gd name="connsiteY3" fmla="*/ 16326 h 32650"/>
                  <a:gd name="connsiteX4" fmla="*/ 16325 w 127156"/>
                  <a:gd name="connsiteY4" fmla="*/ 0 h 32650"/>
                  <a:gd name="connsiteX5" fmla="*/ 110831 w 127156"/>
                  <a:gd name="connsiteY5" fmla="*/ 0 h 32650"/>
                  <a:gd name="connsiteX6" fmla="*/ 127156 w 127156"/>
                  <a:gd name="connsiteY6" fmla="*/ 16326 h 32650"/>
                  <a:gd name="connsiteX7" fmla="*/ 127156 w 127156"/>
                  <a:gd name="connsiteY7" fmla="*/ 16326 h 32650"/>
                  <a:gd name="connsiteX8" fmla="*/ 110831 w 127156"/>
                  <a:gd name="connsiteY8" fmla="*/ 32651 h 326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27156" h="32650">
                    <a:moveTo>
                      <a:pt x="110831" y="32651"/>
                    </a:moveTo>
                    <a:lnTo>
                      <a:pt x="16325" y="32651"/>
                    </a:lnTo>
                    <a:cubicBezTo>
                      <a:pt x="7343" y="32651"/>
                      <a:pt x="0" y="25308"/>
                      <a:pt x="0" y="16326"/>
                    </a:cubicBezTo>
                    <a:lnTo>
                      <a:pt x="0" y="16326"/>
                    </a:lnTo>
                    <a:cubicBezTo>
                      <a:pt x="0" y="7343"/>
                      <a:pt x="7343" y="0"/>
                      <a:pt x="16325" y="0"/>
                    </a:cubicBezTo>
                    <a:lnTo>
                      <a:pt x="110831" y="0"/>
                    </a:lnTo>
                    <a:cubicBezTo>
                      <a:pt x="119813" y="0"/>
                      <a:pt x="127156" y="7343"/>
                      <a:pt x="127156" y="16326"/>
                    </a:cubicBezTo>
                    <a:lnTo>
                      <a:pt x="127156" y="16326"/>
                    </a:lnTo>
                    <a:cubicBezTo>
                      <a:pt x="127156" y="25308"/>
                      <a:pt x="119813" y="32651"/>
                      <a:pt x="110831" y="32651"/>
                    </a:cubicBezTo>
                    <a:close/>
                  </a:path>
                </a:pathLst>
              </a:custGeom>
              <a:solidFill>
                <a:schemeClr val="tx2">
                  <a:lumMod val="20000"/>
                  <a:lumOff val="80000"/>
                </a:schemeClr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1242" name="Freeform: Shape 1241">
                <a:extLst>
                  <a:ext uri="{FF2B5EF4-FFF2-40B4-BE49-F238E27FC236}">
                    <a16:creationId xmlns:a16="http://schemas.microsoft.com/office/drawing/2014/main" id="{35E78308-0CC9-D147-0095-A155E8BE0D2C}"/>
                  </a:ext>
                </a:extLst>
              </p:cNvPr>
              <p:cNvSpPr/>
              <p:nvPr/>
            </p:nvSpPr>
            <p:spPr>
              <a:xfrm>
                <a:off x="1648601" y="5116893"/>
                <a:ext cx="603129" cy="5789"/>
              </a:xfrm>
              <a:custGeom>
                <a:avLst/>
                <a:gdLst>
                  <a:gd name="connsiteX0" fmla="*/ 0 w 603129"/>
                  <a:gd name="connsiteY0" fmla="*/ 0 h 5789"/>
                  <a:gd name="connsiteX1" fmla="*/ 603129 w 603129"/>
                  <a:gd name="connsiteY1" fmla="*/ 0 h 5789"/>
                  <a:gd name="connsiteX2" fmla="*/ 603129 w 603129"/>
                  <a:gd name="connsiteY2" fmla="*/ 5789 h 5789"/>
                  <a:gd name="connsiteX3" fmla="*/ 0 w 603129"/>
                  <a:gd name="connsiteY3" fmla="*/ 5789 h 57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03129" h="5789">
                    <a:moveTo>
                      <a:pt x="0" y="0"/>
                    </a:moveTo>
                    <a:lnTo>
                      <a:pt x="603129" y="0"/>
                    </a:lnTo>
                    <a:lnTo>
                      <a:pt x="603129" y="5789"/>
                    </a:lnTo>
                    <a:lnTo>
                      <a:pt x="0" y="5789"/>
                    </a:lnTo>
                    <a:close/>
                  </a:path>
                </a:pathLst>
              </a:custGeom>
              <a:solidFill>
                <a:schemeClr val="tx2">
                  <a:lumMod val="20000"/>
                  <a:lumOff val="80000"/>
                </a:schemeClr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1243" name="Freeform: Shape 1242">
                <a:extLst>
                  <a:ext uri="{FF2B5EF4-FFF2-40B4-BE49-F238E27FC236}">
                    <a16:creationId xmlns:a16="http://schemas.microsoft.com/office/drawing/2014/main" id="{090EEEC7-FFE9-33D1-1E68-097144F978E2}"/>
                  </a:ext>
                </a:extLst>
              </p:cNvPr>
              <p:cNvSpPr/>
              <p:nvPr/>
            </p:nvSpPr>
            <p:spPr>
              <a:xfrm>
                <a:off x="1941524" y="3372083"/>
                <a:ext cx="307003" cy="1065586"/>
              </a:xfrm>
              <a:custGeom>
                <a:avLst/>
                <a:gdLst>
                  <a:gd name="connsiteX0" fmla="*/ 288283 w 307003"/>
                  <a:gd name="connsiteY0" fmla="*/ 1065587 h 1065586"/>
                  <a:gd name="connsiteX1" fmla="*/ 302927 w 307003"/>
                  <a:gd name="connsiteY1" fmla="*/ 1023187 h 1065586"/>
                  <a:gd name="connsiteX2" fmla="*/ 291944 w 307003"/>
                  <a:gd name="connsiteY2" fmla="*/ 869829 h 1065586"/>
                  <a:gd name="connsiteX3" fmla="*/ 283707 w 307003"/>
                  <a:gd name="connsiteY3" fmla="*/ 403860 h 1065586"/>
                  <a:gd name="connsiteX4" fmla="*/ 234283 w 307003"/>
                  <a:gd name="connsiteY4" fmla="*/ 128220 h 1065586"/>
                  <a:gd name="connsiteX5" fmla="*/ 162894 w 307003"/>
                  <a:gd name="connsiteY5" fmla="*/ 217468 h 1065586"/>
                  <a:gd name="connsiteX6" fmla="*/ 29288 w 307003"/>
                  <a:gd name="connsiteY6" fmla="*/ 58682 h 1065586"/>
                  <a:gd name="connsiteX7" fmla="*/ 0 w 307003"/>
                  <a:gd name="connsiteY7" fmla="*/ 0 h 10655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07003" h="1065586">
                    <a:moveTo>
                      <a:pt x="288283" y="1065587"/>
                    </a:moveTo>
                    <a:lnTo>
                      <a:pt x="302927" y="1023187"/>
                    </a:lnTo>
                    <a:cubicBezTo>
                      <a:pt x="314825" y="976829"/>
                      <a:pt x="297436" y="922105"/>
                      <a:pt x="291944" y="869829"/>
                    </a:cubicBezTo>
                    <a:cubicBezTo>
                      <a:pt x="289390" y="845586"/>
                      <a:pt x="286452" y="519246"/>
                      <a:pt x="283707" y="403860"/>
                    </a:cubicBezTo>
                    <a:cubicBezTo>
                      <a:pt x="280961" y="288474"/>
                      <a:pt x="234283" y="128220"/>
                      <a:pt x="234283" y="128220"/>
                    </a:cubicBezTo>
                    <a:lnTo>
                      <a:pt x="162894" y="217468"/>
                    </a:lnTo>
                    <a:cubicBezTo>
                      <a:pt x="162894" y="217468"/>
                      <a:pt x="72858" y="145121"/>
                      <a:pt x="29288" y="58682"/>
                    </a:cubicBezTo>
                    <a:cubicBezTo>
                      <a:pt x="9153" y="18752"/>
                      <a:pt x="0" y="0"/>
                      <a:pt x="0" y="0"/>
                    </a:cubicBezTo>
                  </a:path>
                </a:pathLst>
              </a:custGeom>
              <a:noFill/>
              <a:ln w="1270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</p:grpSp>
        <p:grpSp>
          <p:nvGrpSpPr>
            <p:cNvPr id="1244" name="Graphic 1191">
              <a:extLst>
                <a:ext uri="{FF2B5EF4-FFF2-40B4-BE49-F238E27FC236}">
                  <a16:creationId xmlns:a16="http://schemas.microsoft.com/office/drawing/2014/main" id="{768C633C-C4AF-31FE-3832-76F6F791B6B1}"/>
                </a:ext>
              </a:extLst>
            </p:cNvPr>
            <p:cNvGrpSpPr/>
            <p:nvPr/>
          </p:nvGrpSpPr>
          <p:grpSpPr>
            <a:xfrm>
              <a:off x="3936266" y="1618970"/>
              <a:ext cx="211744" cy="893240"/>
              <a:chOff x="3395505" y="2874382"/>
              <a:chExt cx="918241" cy="3873595"/>
            </a:xfrm>
          </p:grpSpPr>
          <p:grpSp>
            <p:nvGrpSpPr>
              <p:cNvPr id="1245" name="Graphic 1191">
                <a:extLst>
                  <a:ext uri="{FF2B5EF4-FFF2-40B4-BE49-F238E27FC236}">
                    <a16:creationId xmlns:a16="http://schemas.microsoft.com/office/drawing/2014/main" id="{42B12799-9F82-C471-9662-8EF7052E5028}"/>
                  </a:ext>
                </a:extLst>
              </p:cNvPr>
              <p:cNvGrpSpPr/>
              <p:nvPr/>
            </p:nvGrpSpPr>
            <p:grpSpPr>
              <a:xfrm>
                <a:off x="3923761" y="4644348"/>
                <a:ext cx="389985" cy="592098"/>
                <a:chOff x="3923761" y="4644348"/>
                <a:chExt cx="389985" cy="592098"/>
              </a:xfrm>
            </p:grpSpPr>
            <p:grpSp>
              <p:nvGrpSpPr>
                <p:cNvPr id="1246" name="Graphic 1191">
                  <a:extLst>
                    <a:ext uri="{FF2B5EF4-FFF2-40B4-BE49-F238E27FC236}">
                      <a16:creationId xmlns:a16="http://schemas.microsoft.com/office/drawing/2014/main" id="{8EA69E5F-E50A-ABE1-8432-2D99B4EDFA55}"/>
                    </a:ext>
                  </a:extLst>
                </p:cNvPr>
                <p:cNvGrpSpPr/>
                <p:nvPr/>
              </p:nvGrpSpPr>
              <p:grpSpPr>
                <a:xfrm>
                  <a:off x="4058158" y="4644348"/>
                  <a:ext cx="150168" cy="348367"/>
                  <a:chOff x="4058158" y="4644348"/>
                  <a:chExt cx="150168" cy="348367"/>
                </a:xfrm>
                <a:solidFill>
                  <a:srgbClr val="FFB4B2"/>
                </a:solidFill>
              </p:grpSpPr>
              <p:sp>
                <p:nvSpPr>
                  <p:cNvPr id="1247" name="Freeform: Shape 1246">
                    <a:extLst>
                      <a:ext uri="{FF2B5EF4-FFF2-40B4-BE49-F238E27FC236}">
                        <a16:creationId xmlns:a16="http://schemas.microsoft.com/office/drawing/2014/main" id="{CE3357F2-8B1E-6287-230A-D396D63A7715}"/>
                      </a:ext>
                    </a:extLst>
                  </p:cNvPr>
                  <p:cNvSpPr/>
                  <p:nvPr/>
                </p:nvSpPr>
                <p:spPr>
                  <a:xfrm rot="-1128600">
                    <a:off x="4078678" y="4650541"/>
                    <a:ext cx="61172" cy="137415"/>
                  </a:xfrm>
                  <a:custGeom>
                    <a:avLst/>
                    <a:gdLst>
                      <a:gd name="connsiteX0" fmla="*/ 0 w 61172"/>
                      <a:gd name="connsiteY0" fmla="*/ 0 h 137415"/>
                      <a:gd name="connsiteX1" fmla="*/ 61173 w 61172"/>
                      <a:gd name="connsiteY1" fmla="*/ 0 h 137415"/>
                      <a:gd name="connsiteX2" fmla="*/ 61173 w 61172"/>
                      <a:gd name="connsiteY2" fmla="*/ 137415 h 137415"/>
                      <a:gd name="connsiteX3" fmla="*/ 0 w 61172"/>
                      <a:gd name="connsiteY3" fmla="*/ 137415 h 13741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61172" h="137415">
                        <a:moveTo>
                          <a:pt x="0" y="0"/>
                        </a:moveTo>
                        <a:lnTo>
                          <a:pt x="61173" y="0"/>
                        </a:lnTo>
                        <a:lnTo>
                          <a:pt x="61173" y="137415"/>
                        </a:lnTo>
                        <a:lnTo>
                          <a:pt x="0" y="137415"/>
                        </a:lnTo>
                        <a:close/>
                      </a:path>
                    </a:pathLst>
                  </a:custGeom>
                  <a:solidFill>
                    <a:srgbClr val="D19175"/>
                  </a:solidFill>
                  <a:ln w="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GB"/>
                  </a:p>
                </p:txBody>
              </p:sp>
              <p:grpSp>
                <p:nvGrpSpPr>
                  <p:cNvPr id="1248" name="Graphic 1191">
                    <a:extLst>
                      <a:ext uri="{FF2B5EF4-FFF2-40B4-BE49-F238E27FC236}">
                        <a16:creationId xmlns:a16="http://schemas.microsoft.com/office/drawing/2014/main" id="{8780FD64-6A37-31BB-251E-B0CBC0FB01D9}"/>
                      </a:ext>
                    </a:extLst>
                  </p:cNvPr>
                  <p:cNvGrpSpPr/>
                  <p:nvPr/>
                </p:nvGrpSpPr>
                <p:grpSpPr>
                  <a:xfrm>
                    <a:off x="4074139" y="4701745"/>
                    <a:ext cx="134186" cy="290970"/>
                    <a:chOff x="4074139" y="4701745"/>
                    <a:chExt cx="134186" cy="290970"/>
                  </a:xfrm>
                  <a:solidFill>
                    <a:srgbClr val="FFB4B2"/>
                  </a:solidFill>
                </p:grpSpPr>
                <p:sp>
                  <p:nvSpPr>
                    <p:cNvPr id="1249" name="Freeform: Shape 1248">
                      <a:extLst>
                        <a:ext uri="{FF2B5EF4-FFF2-40B4-BE49-F238E27FC236}">
                          <a16:creationId xmlns:a16="http://schemas.microsoft.com/office/drawing/2014/main" id="{319F0AF5-96BE-661D-F35A-DD4C59E035D9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4074139" y="4701745"/>
                      <a:ext cx="107555" cy="290970"/>
                    </a:xfrm>
                    <a:custGeom>
                      <a:avLst/>
                      <a:gdLst>
                        <a:gd name="connsiteX0" fmla="*/ 43023 w 107555"/>
                        <a:gd name="connsiteY0" fmla="*/ 6584 h 290970"/>
                        <a:gd name="connsiteX1" fmla="*/ 106282 w 107555"/>
                        <a:gd name="connsiteY1" fmla="*/ 146489 h 290970"/>
                        <a:gd name="connsiteX2" fmla="*/ 78483 w 107555"/>
                        <a:gd name="connsiteY2" fmla="*/ 287438 h 290970"/>
                        <a:gd name="connsiteX3" fmla="*/ 77675 w 107555"/>
                        <a:gd name="connsiteY3" fmla="*/ 220433 h 290970"/>
                        <a:gd name="connsiteX4" fmla="*/ 74865 w 107555"/>
                        <a:gd name="connsiteY4" fmla="*/ 226308 h 290970"/>
                        <a:gd name="connsiteX5" fmla="*/ 41065 w 107555"/>
                        <a:gd name="connsiteY5" fmla="*/ 290631 h 290970"/>
                        <a:gd name="connsiteX6" fmla="*/ 34658 w 107555"/>
                        <a:gd name="connsiteY6" fmla="*/ 281031 h 290970"/>
                        <a:gd name="connsiteX7" fmla="*/ 19290 w 107555"/>
                        <a:gd name="connsiteY7" fmla="*/ 285373 h 290970"/>
                        <a:gd name="connsiteX8" fmla="*/ 10223 w 107555"/>
                        <a:gd name="connsiteY8" fmla="*/ 248252 h 290970"/>
                        <a:gd name="connsiteX9" fmla="*/ 1453 w 107555"/>
                        <a:gd name="connsiteY9" fmla="*/ 93873 h 290970"/>
                        <a:gd name="connsiteX10" fmla="*/ 43023 w 107555"/>
                        <a:gd name="connsiteY10" fmla="*/ 6562 h 29097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</a:cxnLst>
                      <a:rect l="l" t="t" r="r" b="b"/>
                      <a:pathLst>
                        <a:path w="107555" h="290970">
                          <a:moveTo>
                            <a:pt x="43023" y="6584"/>
                          </a:moveTo>
                          <a:cubicBezTo>
                            <a:pt x="45918" y="10564"/>
                            <a:pt x="97874" y="92149"/>
                            <a:pt x="106282" y="146489"/>
                          </a:cubicBezTo>
                          <a:cubicBezTo>
                            <a:pt x="113348" y="192081"/>
                            <a:pt x="89190" y="285310"/>
                            <a:pt x="78483" y="287438"/>
                          </a:cubicBezTo>
                          <a:cubicBezTo>
                            <a:pt x="60264" y="291078"/>
                            <a:pt x="79952" y="236844"/>
                            <a:pt x="77675" y="220433"/>
                          </a:cubicBezTo>
                          <a:cubicBezTo>
                            <a:pt x="75418" y="204299"/>
                            <a:pt x="76291" y="215601"/>
                            <a:pt x="74865" y="226308"/>
                          </a:cubicBezTo>
                          <a:cubicBezTo>
                            <a:pt x="67947" y="277924"/>
                            <a:pt x="45556" y="293568"/>
                            <a:pt x="41065" y="290631"/>
                          </a:cubicBezTo>
                          <a:cubicBezTo>
                            <a:pt x="36552" y="287715"/>
                            <a:pt x="34658" y="281031"/>
                            <a:pt x="34658" y="281031"/>
                          </a:cubicBezTo>
                          <a:cubicBezTo>
                            <a:pt x="34658" y="281031"/>
                            <a:pt x="22164" y="291504"/>
                            <a:pt x="19290" y="285373"/>
                          </a:cubicBezTo>
                          <a:cubicBezTo>
                            <a:pt x="10074" y="265770"/>
                            <a:pt x="30188" y="229139"/>
                            <a:pt x="10223" y="248252"/>
                          </a:cubicBezTo>
                          <a:cubicBezTo>
                            <a:pt x="-2655" y="260576"/>
                            <a:pt x="-441" y="142254"/>
                            <a:pt x="1453" y="93873"/>
                          </a:cubicBezTo>
                          <a:cubicBezTo>
                            <a:pt x="3348" y="45492"/>
                            <a:pt x="22717" y="-21278"/>
                            <a:pt x="43023" y="6562"/>
                          </a:cubicBezTo>
                          <a:close/>
                        </a:path>
                      </a:pathLst>
                    </a:custGeom>
                    <a:solidFill>
                      <a:srgbClr val="D19175"/>
                    </a:solidFill>
                    <a:ln w="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GB"/>
                    </a:p>
                  </p:txBody>
                </p:sp>
                <p:sp>
                  <p:nvSpPr>
                    <p:cNvPr id="1250" name="Freeform: Shape 1249">
                      <a:extLst>
                        <a:ext uri="{FF2B5EF4-FFF2-40B4-BE49-F238E27FC236}">
                          <a16:creationId xmlns:a16="http://schemas.microsoft.com/office/drawing/2014/main" id="{23CB37E3-1E70-0C84-7E58-B6BCB7AC7450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4109691" y="4707073"/>
                      <a:ext cx="98634" cy="181248"/>
                    </a:xfrm>
                    <a:custGeom>
                      <a:avLst/>
                      <a:gdLst>
                        <a:gd name="connsiteX0" fmla="*/ 0 w 98634"/>
                        <a:gd name="connsiteY0" fmla="*/ 0 h 181248"/>
                        <a:gd name="connsiteX1" fmla="*/ 84522 w 98634"/>
                        <a:gd name="connsiteY1" fmla="*/ 101252 h 181248"/>
                        <a:gd name="connsiteX2" fmla="*/ 98379 w 98634"/>
                        <a:gd name="connsiteY2" fmla="*/ 169641 h 181248"/>
                        <a:gd name="connsiteX3" fmla="*/ 81840 w 98634"/>
                        <a:gd name="connsiteY3" fmla="*/ 170897 h 181248"/>
                        <a:gd name="connsiteX4" fmla="*/ 61896 w 98634"/>
                        <a:gd name="connsiteY4" fmla="*/ 125070 h 181248"/>
                        <a:gd name="connsiteX5" fmla="*/ 18965 w 98634"/>
                        <a:gd name="connsiteY5" fmla="*/ 66324 h 181248"/>
                        <a:gd name="connsiteX6" fmla="*/ 0 w 98634"/>
                        <a:gd name="connsiteY6" fmla="*/ 0 h 181248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</a:cxnLst>
                      <a:rect l="l" t="t" r="r" b="b"/>
                      <a:pathLst>
                        <a:path w="98634" h="181248">
                          <a:moveTo>
                            <a:pt x="0" y="0"/>
                          </a:moveTo>
                          <a:cubicBezTo>
                            <a:pt x="0" y="0"/>
                            <a:pt x="47806" y="4768"/>
                            <a:pt x="84522" y="101252"/>
                          </a:cubicBezTo>
                          <a:cubicBezTo>
                            <a:pt x="90631" y="117280"/>
                            <a:pt x="97272" y="161765"/>
                            <a:pt x="98379" y="169641"/>
                          </a:cubicBezTo>
                          <a:cubicBezTo>
                            <a:pt x="100678" y="186115"/>
                            <a:pt x="86885" y="183689"/>
                            <a:pt x="81840" y="170897"/>
                          </a:cubicBezTo>
                          <a:cubicBezTo>
                            <a:pt x="80159" y="166661"/>
                            <a:pt x="63897" y="130051"/>
                            <a:pt x="61896" y="125070"/>
                          </a:cubicBezTo>
                          <a:cubicBezTo>
                            <a:pt x="56235" y="110873"/>
                            <a:pt x="25819" y="68282"/>
                            <a:pt x="18965" y="66324"/>
                          </a:cubicBezTo>
                          <a:cubicBezTo>
                            <a:pt x="12111" y="64366"/>
                            <a:pt x="0" y="0"/>
                            <a:pt x="0" y="0"/>
                          </a:cubicBezTo>
                          <a:close/>
                        </a:path>
                      </a:pathLst>
                    </a:custGeom>
                    <a:solidFill>
                      <a:srgbClr val="D19175"/>
                    </a:solidFill>
                    <a:ln w="0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en-GB"/>
                    </a:p>
                  </p:txBody>
                </p:sp>
              </p:grpSp>
            </p:grpSp>
            <p:sp>
              <p:nvSpPr>
                <p:cNvPr id="1251" name="Freeform: Shape 1250">
                  <a:extLst>
                    <a:ext uri="{FF2B5EF4-FFF2-40B4-BE49-F238E27FC236}">
                      <a16:creationId xmlns:a16="http://schemas.microsoft.com/office/drawing/2014/main" id="{723B49CB-918A-1C61-3081-18C84838ED4E}"/>
                    </a:ext>
                  </a:extLst>
                </p:cNvPr>
                <p:cNvSpPr/>
                <p:nvPr/>
              </p:nvSpPr>
              <p:spPr>
                <a:xfrm>
                  <a:off x="4023009" y="4846815"/>
                  <a:ext cx="180675" cy="119885"/>
                </a:xfrm>
                <a:custGeom>
                  <a:avLst/>
                  <a:gdLst>
                    <a:gd name="connsiteX0" fmla="*/ 180676 w 180675"/>
                    <a:gd name="connsiteY0" fmla="*/ 74959 h 119885"/>
                    <a:gd name="connsiteX1" fmla="*/ 36279 w 180675"/>
                    <a:gd name="connsiteY1" fmla="*/ 35412 h 119885"/>
                    <a:gd name="connsiteX2" fmla="*/ 17889 w 180675"/>
                    <a:gd name="connsiteY2" fmla="*/ 119104 h 11988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80675" h="119885">
                      <a:moveTo>
                        <a:pt x="180676" y="74959"/>
                      </a:moveTo>
                      <a:cubicBezTo>
                        <a:pt x="180676" y="74959"/>
                        <a:pt x="105264" y="-63009"/>
                        <a:pt x="36279" y="35412"/>
                      </a:cubicBezTo>
                      <a:cubicBezTo>
                        <a:pt x="-32705" y="133833"/>
                        <a:pt x="17889" y="119104"/>
                        <a:pt x="17889" y="119104"/>
                      </a:cubicBezTo>
                    </a:path>
                  </a:pathLst>
                </a:custGeom>
                <a:noFill/>
                <a:ln w="12700" cap="flat">
                  <a:solidFill>
                    <a:schemeClr val="accent2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GB"/>
                </a:p>
              </p:txBody>
            </p:sp>
            <p:sp>
              <p:nvSpPr>
                <p:cNvPr id="1252" name="Freeform: Shape 1251">
                  <a:extLst>
                    <a:ext uri="{FF2B5EF4-FFF2-40B4-BE49-F238E27FC236}">
                      <a16:creationId xmlns:a16="http://schemas.microsoft.com/office/drawing/2014/main" id="{1549B438-5FDB-0316-062F-8F68340125E9}"/>
                    </a:ext>
                  </a:extLst>
                </p:cNvPr>
                <p:cNvSpPr/>
                <p:nvPr/>
              </p:nvSpPr>
              <p:spPr>
                <a:xfrm>
                  <a:off x="4108840" y="4841296"/>
                  <a:ext cx="29373" cy="60704"/>
                </a:xfrm>
                <a:custGeom>
                  <a:avLst/>
                  <a:gdLst>
                    <a:gd name="connsiteX0" fmla="*/ 29373 w 29373"/>
                    <a:gd name="connsiteY0" fmla="*/ 30352 h 60704"/>
                    <a:gd name="connsiteX1" fmla="*/ 14686 w 29373"/>
                    <a:gd name="connsiteY1" fmla="*/ 60705 h 60704"/>
                    <a:gd name="connsiteX2" fmla="*/ 0 w 29373"/>
                    <a:gd name="connsiteY2" fmla="*/ 30352 h 60704"/>
                    <a:gd name="connsiteX3" fmla="*/ 14686 w 29373"/>
                    <a:gd name="connsiteY3" fmla="*/ 0 h 60704"/>
                    <a:gd name="connsiteX4" fmla="*/ 29373 w 29373"/>
                    <a:gd name="connsiteY4" fmla="*/ 30352 h 6070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29373" h="60704">
                      <a:moveTo>
                        <a:pt x="29373" y="30352"/>
                      </a:moveTo>
                      <a:cubicBezTo>
                        <a:pt x="29373" y="47116"/>
                        <a:pt x="22798" y="60705"/>
                        <a:pt x="14686" y="60705"/>
                      </a:cubicBezTo>
                      <a:cubicBezTo>
                        <a:pt x="6575" y="60705"/>
                        <a:pt x="0" y="47116"/>
                        <a:pt x="0" y="30352"/>
                      </a:cubicBezTo>
                      <a:cubicBezTo>
                        <a:pt x="0" y="13589"/>
                        <a:pt x="6575" y="0"/>
                        <a:pt x="14686" y="0"/>
                      </a:cubicBezTo>
                      <a:cubicBezTo>
                        <a:pt x="22798" y="0"/>
                        <a:pt x="29373" y="13589"/>
                        <a:pt x="29373" y="30352"/>
                      </a:cubicBezTo>
                      <a:close/>
                    </a:path>
                  </a:pathLst>
                </a:custGeom>
                <a:solidFill>
                  <a:srgbClr val="D19175"/>
                </a:solidFill>
                <a:ln w="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GB"/>
                </a:p>
              </p:txBody>
            </p:sp>
            <p:sp>
              <p:nvSpPr>
                <p:cNvPr id="1253" name="Freeform: Shape 1252">
                  <a:extLst>
                    <a:ext uri="{FF2B5EF4-FFF2-40B4-BE49-F238E27FC236}">
                      <a16:creationId xmlns:a16="http://schemas.microsoft.com/office/drawing/2014/main" id="{AEDD1BEA-6E47-EA57-764E-EC2B288CB140}"/>
                    </a:ext>
                  </a:extLst>
                </p:cNvPr>
                <p:cNvSpPr/>
                <p:nvPr/>
              </p:nvSpPr>
              <p:spPr>
                <a:xfrm>
                  <a:off x="4088917" y="4841296"/>
                  <a:ext cx="29373" cy="60704"/>
                </a:xfrm>
                <a:custGeom>
                  <a:avLst/>
                  <a:gdLst>
                    <a:gd name="connsiteX0" fmla="*/ 29373 w 29373"/>
                    <a:gd name="connsiteY0" fmla="*/ 30352 h 60704"/>
                    <a:gd name="connsiteX1" fmla="*/ 14686 w 29373"/>
                    <a:gd name="connsiteY1" fmla="*/ 60705 h 60704"/>
                    <a:gd name="connsiteX2" fmla="*/ 0 w 29373"/>
                    <a:gd name="connsiteY2" fmla="*/ 30352 h 60704"/>
                    <a:gd name="connsiteX3" fmla="*/ 14686 w 29373"/>
                    <a:gd name="connsiteY3" fmla="*/ 0 h 60704"/>
                    <a:gd name="connsiteX4" fmla="*/ 29373 w 29373"/>
                    <a:gd name="connsiteY4" fmla="*/ 30352 h 6070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29373" h="60704">
                      <a:moveTo>
                        <a:pt x="29373" y="30352"/>
                      </a:moveTo>
                      <a:cubicBezTo>
                        <a:pt x="29373" y="47116"/>
                        <a:pt x="22798" y="60705"/>
                        <a:pt x="14686" y="60705"/>
                      </a:cubicBezTo>
                      <a:cubicBezTo>
                        <a:pt x="6575" y="60705"/>
                        <a:pt x="0" y="47116"/>
                        <a:pt x="0" y="30352"/>
                      </a:cubicBezTo>
                      <a:cubicBezTo>
                        <a:pt x="0" y="13589"/>
                        <a:pt x="6575" y="0"/>
                        <a:pt x="14686" y="0"/>
                      </a:cubicBezTo>
                      <a:cubicBezTo>
                        <a:pt x="22798" y="0"/>
                        <a:pt x="29373" y="13589"/>
                        <a:pt x="29373" y="30352"/>
                      </a:cubicBezTo>
                      <a:close/>
                    </a:path>
                  </a:pathLst>
                </a:custGeom>
                <a:solidFill>
                  <a:srgbClr val="D19175"/>
                </a:solidFill>
                <a:ln w="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GB"/>
                </a:p>
              </p:txBody>
            </p:sp>
            <p:sp>
              <p:nvSpPr>
                <p:cNvPr id="1254" name="Freeform: Shape 1253">
                  <a:extLst>
                    <a:ext uri="{FF2B5EF4-FFF2-40B4-BE49-F238E27FC236}">
                      <a16:creationId xmlns:a16="http://schemas.microsoft.com/office/drawing/2014/main" id="{628EF1C1-A29A-B846-BCC4-2B564188A2C9}"/>
                    </a:ext>
                  </a:extLst>
                </p:cNvPr>
                <p:cNvSpPr/>
                <p:nvPr/>
              </p:nvSpPr>
              <p:spPr>
                <a:xfrm>
                  <a:off x="4132487" y="4841296"/>
                  <a:ext cx="29373" cy="60704"/>
                </a:xfrm>
                <a:custGeom>
                  <a:avLst/>
                  <a:gdLst>
                    <a:gd name="connsiteX0" fmla="*/ 29373 w 29373"/>
                    <a:gd name="connsiteY0" fmla="*/ 30352 h 60704"/>
                    <a:gd name="connsiteX1" fmla="*/ 14687 w 29373"/>
                    <a:gd name="connsiteY1" fmla="*/ 60705 h 60704"/>
                    <a:gd name="connsiteX2" fmla="*/ 0 w 29373"/>
                    <a:gd name="connsiteY2" fmla="*/ 30352 h 60704"/>
                    <a:gd name="connsiteX3" fmla="*/ 14687 w 29373"/>
                    <a:gd name="connsiteY3" fmla="*/ 0 h 60704"/>
                    <a:gd name="connsiteX4" fmla="*/ 29373 w 29373"/>
                    <a:gd name="connsiteY4" fmla="*/ 30352 h 6070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29373" h="60704">
                      <a:moveTo>
                        <a:pt x="29373" y="30352"/>
                      </a:moveTo>
                      <a:cubicBezTo>
                        <a:pt x="29373" y="47116"/>
                        <a:pt x="22798" y="60705"/>
                        <a:pt x="14687" y="60705"/>
                      </a:cubicBezTo>
                      <a:cubicBezTo>
                        <a:pt x="6575" y="60705"/>
                        <a:pt x="0" y="47116"/>
                        <a:pt x="0" y="30352"/>
                      </a:cubicBezTo>
                      <a:cubicBezTo>
                        <a:pt x="0" y="13589"/>
                        <a:pt x="6575" y="0"/>
                        <a:pt x="14687" y="0"/>
                      </a:cubicBezTo>
                      <a:cubicBezTo>
                        <a:pt x="22798" y="0"/>
                        <a:pt x="29373" y="13589"/>
                        <a:pt x="29373" y="30352"/>
                      </a:cubicBezTo>
                      <a:close/>
                    </a:path>
                  </a:pathLst>
                </a:custGeom>
                <a:solidFill>
                  <a:srgbClr val="D19175"/>
                </a:solidFill>
                <a:ln w="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GB"/>
                </a:p>
              </p:txBody>
            </p:sp>
            <p:sp>
              <p:nvSpPr>
                <p:cNvPr id="1255" name="Freeform: Shape 1254">
                  <a:extLst>
                    <a:ext uri="{FF2B5EF4-FFF2-40B4-BE49-F238E27FC236}">
                      <a16:creationId xmlns:a16="http://schemas.microsoft.com/office/drawing/2014/main" id="{5D0582B9-980C-E9DB-84FF-59E5E39A8106}"/>
                    </a:ext>
                  </a:extLst>
                </p:cNvPr>
                <p:cNvSpPr/>
                <p:nvPr/>
              </p:nvSpPr>
              <p:spPr>
                <a:xfrm>
                  <a:off x="3923761" y="4894113"/>
                  <a:ext cx="389985" cy="342333"/>
                </a:xfrm>
                <a:custGeom>
                  <a:avLst/>
                  <a:gdLst>
                    <a:gd name="connsiteX0" fmla="*/ 8137 w 389985"/>
                    <a:gd name="connsiteY0" fmla="*/ 97 h 342333"/>
                    <a:gd name="connsiteX1" fmla="*/ 337862 w 389985"/>
                    <a:gd name="connsiteY1" fmla="*/ 2971 h 342333"/>
                    <a:gd name="connsiteX2" fmla="*/ 388116 w 389985"/>
                    <a:gd name="connsiteY2" fmla="*/ 323074 h 342333"/>
                    <a:gd name="connsiteX3" fmla="*/ 8350 w 389985"/>
                    <a:gd name="connsiteY3" fmla="*/ 309750 h 342333"/>
                    <a:gd name="connsiteX4" fmla="*/ 8137 w 389985"/>
                    <a:gd name="connsiteY4" fmla="*/ 97 h 3423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89985" h="342333">
                      <a:moveTo>
                        <a:pt x="8137" y="97"/>
                      </a:moveTo>
                      <a:cubicBezTo>
                        <a:pt x="8137" y="97"/>
                        <a:pt x="321515" y="-818"/>
                        <a:pt x="337862" y="2971"/>
                      </a:cubicBezTo>
                      <a:cubicBezTo>
                        <a:pt x="354209" y="6738"/>
                        <a:pt x="399716" y="321457"/>
                        <a:pt x="388116" y="323074"/>
                      </a:cubicBezTo>
                      <a:cubicBezTo>
                        <a:pt x="62286" y="368816"/>
                        <a:pt x="17481" y="320073"/>
                        <a:pt x="8350" y="309750"/>
                      </a:cubicBezTo>
                      <a:cubicBezTo>
                        <a:pt x="602" y="300981"/>
                        <a:pt x="-5634" y="-754"/>
                        <a:pt x="8137" y="97"/>
                      </a:cubicBezTo>
                      <a:close/>
                    </a:path>
                  </a:pathLst>
                </a:custGeom>
                <a:solidFill>
                  <a:schemeClr val="accent4"/>
                </a:solidFill>
                <a:ln w="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GB"/>
                </a:p>
              </p:txBody>
            </p:sp>
          </p:grpSp>
          <p:grpSp>
            <p:nvGrpSpPr>
              <p:cNvPr id="1256" name="Graphic 1191">
                <a:extLst>
                  <a:ext uri="{FF2B5EF4-FFF2-40B4-BE49-F238E27FC236}">
                    <a16:creationId xmlns:a16="http://schemas.microsoft.com/office/drawing/2014/main" id="{E852A762-9665-D6EF-0C91-091C77F388FD}"/>
                  </a:ext>
                </a:extLst>
              </p:cNvPr>
              <p:cNvGrpSpPr/>
              <p:nvPr/>
            </p:nvGrpSpPr>
            <p:grpSpPr>
              <a:xfrm>
                <a:off x="3616392" y="6454458"/>
                <a:ext cx="267825" cy="293476"/>
                <a:chOff x="3616392" y="6454458"/>
                <a:chExt cx="267825" cy="293476"/>
              </a:xfrm>
            </p:grpSpPr>
            <p:grpSp>
              <p:nvGrpSpPr>
                <p:cNvPr id="1257" name="Graphic 1191">
                  <a:extLst>
                    <a:ext uri="{FF2B5EF4-FFF2-40B4-BE49-F238E27FC236}">
                      <a16:creationId xmlns:a16="http://schemas.microsoft.com/office/drawing/2014/main" id="{EB310114-1315-5373-66FE-89221B41F447}"/>
                    </a:ext>
                  </a:extLst>
                </p:cNvPr>
                <p:cNvGrpSpPr/>
                <p:nvPr/>
              </p:nvGrpSpPr>
              <p:grpSpPr>
                <a:xfrm>
                  <a:off x="3616392" y="6454458"/>
                  <a:ext cx="267825" cy="293476"/>
                  <a:chOff x="3616392" y="6454458"/>
                  <a:chExt cx="267825" cy="293476"/>
                </a:xfrm>
              </p:grpSpPr>
              <p:sp>
                <p:nvSpPr>
                  <p:cNvPr id="1258" name="Freeform: Shape 1257">
                    <a:extLst>
                      <a:ext uri="{FF2B5EF4-FFF2-40B4-BE49-F238E27FC236}">
                        <a16:creationId xmlns:a16="http://schemas.microsoft.com/office/drawing/2014/main" id="{F61A731F-B4BD-C8E5-367D-F94547FDB460}"/>
                      </a:ext>
                    </a:extLst>
                  </p:cNvPr>
                  <p:cNvSpPr/>
                  <p:nvPr/>
                </p:nvSpPr>
                <p:spPr>
                  <a:xfrm>
                    <a:off x="3619579" y="6454458"/>
                    <a:ext cx="226224" cy="252628"/>
                  </a:xfrm>
                  <a:custGeom>
                    <a:avLst/>
                    <a:gdLst>
                      <a:gd name="connsiteX0" fmla="*/ 39574 w 226224"/>
                      <a:gd name="connsiteY0" fmla="*/ 21391 h 252628"/>
                      <a:gd name="connsiteX1" fmla="*/ 1112 w 226224"/>
                      <a:gd name="connsiteY1" fmla="*/ 129583 h 252628"/>
                      <a:gd name="connsiteX2" fmla="*/ 7136 w 226224"/>
                      <a:gd name="connsiteY2" fmla="*/ 147866 h 252628"/>
                      <a:gd name="connsiteX3" fmla="*/ 63690 w 226224"/>
                      <a:gd name="connsiteY3" fmla="*/ 181943 h 252628"/>
                      <a:gd name="connsiteX4" fmla="*/ 152810 w 226224"/>
                      <a:gd name="connsiteY4" fmla="*/ 250992 h 252628"/>
                      <a:gd name="connsiteX5" fmla="*/ 218453 w 226224"/>
                      <a:gd name="connsiteY5" fmla="*/ 250651 h 252628"/>
                      <a:gd name="connsiteX6" fmla="*/ 219155 w 226224"/>
                      <a:gd name="connsiteY6" fmla="*/ 233900 h 252628"/>
                      <a:gd name="connsiteX7" fmla="*/ 130588 w 226224"/>
                      <a:gd name="connsiteY7" fmla="*/ 107425 h 252628"/>
                      <a:gd name="connsiteX8" fmla="*/ 113646 w 226224"/>
                      <a:gd name="connsiteY8" fmla="*/ 0 h 252628"/>
                      <a:gd name="connsiteX9" fmla="*/ 39574 w 226224"/>
                      <a:gd name="connsiteY9" fmla="*/ 21391 h 25262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</a:cxnLst>
                    <a:rect l="l" t="t" r="r" b="b"/>
                    <a:pathLst>
                      <a:path w="226224" h="252628">
                        <a:moveTo>
                          <a:pt x="39574" y="21391"/>
                        </a:moveTo>
                        <a:lnTo>
                          <a:pt x="1112" y="129583"/>
                        </a:lnTo>
                        <a:cubicBezTo>
                          <a:pt x="-1676" y="136394"/>
                          <a:pt x="942" y="144312"/>
                          <a:pt x="7136" y="147866"/>
                        </a:cubicBezTo>
                        <a:cubicBezTo>
                          <a:pt x="25313" y="158275"/>
                          <a:pt x="60135" y="178367"/>
                          <a:pt x="63690" y="181943"/>
                        </a:cubicBezTo>
                        <a:cubicBezTo>
                          <a:pt x="120669" y="239157"/>
                          <a:pt x="107771" y="244883"/>
                          <a:pt x="152810" y="250992"/>
                        </a:cubicBezTo>
                        <a:cubicBezTo>
                          <a:pt x="178330" y="254461"/>
                          <a:pt x="195486" y="251460"/>
                          <a:pt x="218453" y="250651"/>
                        </a:cubicBezTo>
                        <a:cubicBezTo>
                          <a:pt x="230095" y="250225"/>
                          <a:pt x="227243" y="242754"/>
                          <a:pt x="219155" y="233900"/>
                        </a:cubicBezTo>
                        <a:cubicBezTo>
                          <a:pt x="185674" y="197205"/>
                          <a:pt x="135016" y="119068"/>
                          <a:pt x="130588" y="107425"/>
                        </a:cubicBezTo>
                        <a:cubicBezTo>
                          <a:pt x="119776" y="79010"/>
                          <a:pt x="113646" y="0"/>
                          <a:pt x="113646" y="0"/>
                        </a:cubicBezTo>
                        <a:lnTo>
                          <a:pt x="39574" y="21391"/>
                        </a:lnTo>
                        <a:close/>
                      </a:path>
                    </a:pathLst>
                  </a:custGeom>
                  <a:solidFill>
                    <a:srgbClr val="D19175"/>
                  </a:solidFill>
                  <a:ln w="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GB"/>
                  </a:p>
                </p:txBody>
              </p:sp>
              <p:sp>
                <p:nvSpPr>
                  <p:cNvPr id="1259" name="Freeform: Shape 1258">
                    <a:extLst>
                      <a:ext uri="{FF2B5EF4-FFF2-40B4-BE49-F238E27FC236}">
                        <a16:creationId xmlns:a16="http://schemas.microsoft.com/office/drawing/2014/main" id="{E9E6DA4D-73E7-0C08-CC0F-49222865E857}"/>
                      </a:ext>
                    </a:extLst>
                  </p:cNvPr>
                  <p:cNvSpPr/>
                  <p:nvPr/>
                </p:nvSpPr>
                <p:spPr>
                  <a:xfrm>
                    <a:off x="3616392" y="6590128"/>
                    <a:ext cx="267825" cy="157806"/>
                  </a:xfrm>
                  <a:custGeom>
                    <a:avLst/>
                    <a:gdLst>
                      <a:gd name="connsiteX0" fmla="*/ 2767 w 267825"/>
                      <a:gd name="connsiteY0" fmla="*/ 0 h 157806"/>
                      <a:gd name="connsiteX1" fmla="*/ 0 w 267825"/>
                      <a:gd name="connsiteY1" fmla="*/ 156891 h 157806"/>
                      <a:gd name="connsiteX2" fmla="*/ 47742 w 267825"/>
                      <a:gd name="connsiteY2" fmla="*/ 157806 h 157806"/>
                      <a:gd name="connsiteX3" fmla="*/ 45720 w 267825"/>
                      <a:gd name="connsiteY3" fmla="*/ 43634 h 157806"/>
                      <a:gd name="connsiteX4" fmla="*/ 78392 w 267825"/>
                      <a:gd name="connsiteY4" fmla="*/ 128412 h 157806"/>
                      <a:gd name="connsiteX5" fmla="*/ 83096 w 267825"/>
                      <a:gd name="connsiteY5" fmla="*/ 157636 h 157806"/>
                      <a:gd name="connsiteX6" fmla="*/ 262613 w 267825"/>
                      <a:gd name="connsiteY6" fmla="*/ 155082 h 157806"/>
                      <a:gd name="connsiteX7" fmla="*/ 267679 w 267825"/>
                      <a:gd name="connsiteY7" fmla="*/ 134308 h 157806"/>
                      <a:gd name="connsiteX8" fmla="*/ 206208 w 267825"/>
                      <a:gd name="connsiteY8" fmla="*/ 75455 h 157806"/>
                      <a:gd name="connsiteX9" fmla="*/ 2788 w 267825"/>
                      <a:gd name="connsiteY9" fmla="*/ 21 h 15780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</a:cxnLst>
                    <a:rect l="l" t="t" r="r" b="b"/>
                    <a:pathLst>
                      <a:path w="267825" h="157806">
                        <a:moveTo>
                          <a:pt x="2767" y="0"/>
                        </a:moveTo>
                        <a:lnTo>
                          <a:pt x="0" y="156891"/>
                        </a:lnTo>
                        <a:lnTo>
                          <a:pt x="47742" y="157806"/>
                        </a:lnTo>
                        <a:lnTo>
                          <a:pt x="45720" y="43634"/>
                        </a:lnTo>
                        <a:cubicBezTo>
                          <a:pt x="45720" y="43634"/>
                          <a:pt x="72539" y="104977"/>
                          <a:pt x="78392" y="128412"/>
                        </a:cubicBezTo>
                        <a:cubicBezTo>
                          <a:pt x="84246" y="151847"/>
                          <a:pt x="83096" y="157636"/>
                          <a:pt x="83096" y="157636"/>
                        </a:cubicBezTo>
                        <a:lnTo>
                          <a:pt x="262613" y="155082"/>
                        </a:lnTo>
                        <a:cubicBezTo>
                          <a:pt x="262613" y="155082"/>
                          <a:pt x="268850" y="151974"/>
                          <a:pt x="267679" y="134308"/>
                        </a:cubicBezTo>
                        <a:cubicBezTo>
                          <a:pt x="265082" y="95420"/>
                          <a:pt x="206208" y="75455"/>
                          <a:pt x="206208" y="75455"/>
                        </a:cubicBezTo>
                        <a:cubicBezTo>
                          <a:pt x="206208" y="75455"/>
                          <a:pt x="91802" y="88098"/>
                          <a:pt x="2788" y="21"/>
                        </a:cubicBezTo>
                        <a:close/>
                      </a:path>
                    </a:pathLst>
                  </a:custGeom>
                  <a:solidFill>
                    <a:schemeClr val="accent2"/>
                  </a:solidFill>
                  <a:ln w="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GB"/>
                  </a:p>
                </p:txBody>
              </p:sp>
            </p:grpSp>
            <p:sp>
              <p:nvSpPr>
                <p:cNvPr id="1260" name="Freeform: Shape 1259">
                  <a:extLst>
                    <a:ext uri="{FF2B5EF4-FFF2-40B4-BE49-F238E27FC236}">
                      <a16:creationId xmlns:a16="http://schemas.microsoft.com/office/drawing/2014/main" id="{C5766B53-6F15-C742-6FAF-4204268B5839}"/>
                    </a:ext>
                  </a:extLst>
                </p:cNvPr>
                <p:cNvSpPr/>
                <p:nvPr/>
              </p:nvSpPr>
              <p:spPr>
                <a:xfrm>
                  <a:off x="3618361" y="6517561"/>
                  <a:ext cx="99197" cy="143276"/>
                </a:xfrm>
                <a:custGeom>
                  <a:avLst/>
                  <a:gdLst>
                    <a:gd name="connsiteX0" fmla="*/ 26255 w 99197"/>
                    <a:gd name="connsiteY0" fmla="*/ 305 h 143276"/>
                    <a:gd name="connsiteX1" fmla="*/ 85725 w 99197"/>
                    <a:gd name="connsiteY1" fmla="*/ 115797 h 143276"/>
                    <a:gd name="connsiteX2" fmla="*/ 99198 w 99197"/>
                    <a:gd name="connsiteY2" fmla="*/ 143276 h 143276"/>
                    <a:gd name="connsiteX3" fmla="*/ 9652 w 99197"/>
                    <a:gd name="connsiteY3" fmla="*/ 97748 h 143276"/>
                    <a:gd name="connsiteX4" fmla="*/ 564 w 99197"/>
                    <a:gd name="connsiteY4" fmla="*/ 84594 h 143276"/>
                    <a:gd name="connsiteX5" fmla="*/ 26255 w 99197"/>
                    <a:gd name="connsiteY5" fmla="*/ 305 h 14327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99197" h="143276">
                      <a:moveTo>
                        <a:pt x="26255" y="305"/>
                      </a:moveTo>
                      <a:cubicBezTo>
                        <a:pt x="26255" y="305"/>
                        <a:pt x="52392" y="63990"/>
                        <a:pt x="85725" y="115797"/>
                      </a:cubicBezTo>
                      <a:cubicBezTo>
                        <a:pt x="97900" y="134698"/>
                        <a:pt x="99198" y="143276"/>
                        <a:pt x="99198" y="143276"/>
                      </a:cubicBezTo>
                      <a:lnTo>
                        <a:pt x="9652" y="97748"/>
                      </a:lnTo>
                      <a:cubicBezTo>
                        <a:pt x="9652" y="97748"/>
                        <a:pt x="2033" y="92235"/>
                        <a:pt x="564" y="84594"/>
                      </a:cubicBezTo>
                      <a:cubicBezTo>
                        <a:pt x="-3906" y="61202"/>
                        <a:pt x="19465" y="-5037"/>
                        <a:pt x="26255" y="305"/>
                      </a:cubicBezTo>
                      <a:close/>
                    </a:path>
                  </a:pathLst>
                </a:custGeom>
                <a:solidFill>
                  <a:schemeClr val="accent2"/>
                </a:solidFill>
                <a:ln w="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GB"/>
                </a:p>
              </p:txBody>
            </p:sp>
          </p:grpSp>
          <p:sp>
            <p:nvSpPr>
              <p:cNvPr id="1261" name="Freeform: Shape 1260">
                <a:extLst>
                  <a:ext uri="{FF2B5EF4-FFF2-40B4-BE49-F238E27FC236}">
                    <a16:creationId xmlns:a16="http://schemas.microsoft.com/office/drawing/2014/main" id="{1CE4BC2C-AF1D-69CA-3414-6AFE51AEAA92}"/>
                  </a:ext>
                </a:extLst>
              </p:cNvPr>
              <p:cNvSpPr/>
              <p:nvPr/>
            </p:nvSpPr>
            <p:spPr>
              <a:xfrm>
                <a:off x="3924994" y="3529187"/>
                <a:ext cx="222180" cy="1176012"/>
              </a:xfrm>
              <a:custGeom>
                <a:avLst/>
                <a:gdLst>
                  <a:gd name="connsiteX0" fmla="*/ 1711 w 222180"/>
                  <a:gd name="connsiteY0" fmla="*/ 0 h 1176012"/>
                  <a:gd name="connsiteX1" fmla="*/ 135529 w 222180"/>
                  <a:gd name="connsiteY1" fmla="*/ 300756 h 1176012"/>
                  <a:gd name="connsiteX2" fmla="*/ 222180 w 222180"/>
                  <a:gd name="connsiteY2" fmla="*/ 1168840 h 1176012"/>
                  <a:gd name="connsiteX3" fmla="*/ 138019 w 222180"/>
                  <a:gd name="connsiteY3" fmla="*/ 1176013 h 1176012"/>
                  <a:gd name="connsiteX4" fmla="*/ 26550 w 222180"/>
                  <a:gd name="connsiteY4" fmla="*/ 477357 h 1176012"/>
                  <a:gd name="connsiteX5" fmla="*/ 1711 w 222180"/>
                  <a:gd name="connsiteY5" fmla="*/ 0 h 11760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22180" h="1176012">
                    <a:moveTo>
                      <a:pt x="1711" y="0"/>
                    </a:moveTo>
                    <a:cubicBezTo>
                      <a:pt x="1711" y="0"/>
                      <a:pt x="121502" y="117110"/>
                      <a:pt x="135529" y="300756"/>
                    </a:cubicBezTo>
                    <a:cubicBezTo>
                      <a:pt x="152089" y="517351"/>
                      <a:pt x="222180" y="1168840"/>
                      <a:pt x="222180" y="1168840"/>
                    </a:cubicBezTo>
                    <a:lnTo>
                      <a:pt x="138019" y="1176013"/>
                    </a:lnTo>
                    <a:cubicBezTo>
                      <a:pt x="138019" y="1176013"/>
                      <a:pt x="57584" y="715684"/>
                      <a:pt x="26550" y="477357"/>
                    </a:cubicBezTo>
                    <a:cubicBezTo>
                      <a:pt x="-4483" y="239030"/>
                      <a:pt x="-1035" y="1383"/>
                      <a:pt x="1711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1262" name="Freeform: Shape 1261">
                <a:extLst>
                  <a:ext uri="{FF2B5EF4-FFF2-40B4-BE49-F238E27FC236}">
                    <a16:creationId xmlns:a16="http://schemas.microsoft.com/office/drawing/2014/main" id="{3BD3BC02-6C51-F94B-1211-3657DED98BBE}"/>
                  </a:ext>
                </a:extLst>
              </p:cNvPr>
              <p:cNvSpPr/>
              <p:nvPr/>
            </p:nvSpPr>
            <p:spPr>
              <a:xfrm>
                <a:off x="3909911" y="4965749"/>
                <a:ext cx="368867" cy="52579"/>
              </a:xfrm>
              <a:custGeom>
                <a:avLst/>
                <a:gdLst>
                  <a:gd name="connsiteX0" fmla="*/ 368868 w 368867"/>
                  <a:gd name="connsiteY0" fmla="*/ 0 h 52579"/>
                  <a:gd name="connsiteX1" fmla="*/ 155784 w 368867"/>
                  <a:gd name="connsiteY1" fmla="*/ 51041 h 52579"/>
                  <a:gd name="connsiteX2" fmla="*/ 0 w 368867"/>
                  <a:gd name="connsiteY2" fmla="*/ 38952 h 525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68867" h="52579">
                    <a:moveTo>
                      <a:pt x="368868" y="0"/>
                    </a:moveTo>
                    <a:cubicBezTo>
                      <a:pt x="368868" y="0"/>
                      <a:pt x="311569" y="63131"/>
                      <a:pt x="155784" y="51041"/>
                    </a:cubicBezTo>
                    <a:lnTo>
                      <a:pt x="0" y="38952"/>
                    </a:lnTo>
                  </a:path>
                </a:pathLst>
              </a:custGeom>
              <a:noFill/>
              <a:ln w="1270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1264" name="Freeform: Shape 1263">
                <a:extLst>
                  <a:ext uri="{FF2B5EF4-FFF2-40B4-BE49-F238E27FC236}">
                    <a16:creationId xmlns:a16="http://schemas.microsoft.com/office/drawing/2014/main" id="{6738504A-4C7F-E7B1-3B83-0BA175A0F66B}"/>
                  </a:ext>
                </a:extLst>
              </p:cNvPr>
              <p:cNvSpPr/>
              <p:nvPr/>
            </p:nvSpPr>
            <p:spPr>
              <a:xfrm>
                <a:off x="3585447" y="3106327"/>
                <a:ext cx="243198" cy="881826"/>
              </a:xfrm>
              <a:custGeom>
                <a:avLst/>
                <a:gdLst>
                  <a:gd name="connsiteX0" fmla="*/ 243198 w 243198"/>
                  <a:gd name="connsiteY0" fmla="*/ 759 h 881826"/>
                  <a:gd name="connsiteX1" fmla="*/ 5914 w 243198"/>
                  <a:gd name="connsiteY1" fmla="*/ 422328 h 881826"/>
                  <a:gd name="connsiteX2" fmla="*/ 170233 w 243198"/>
                  <a:gd name="connsiteY2" fmla="*/ 881827 h 881826"/>
                  <a:gd name="connsiteX3" fmla="*/ 243198 w 243198"/>
                  <a:gd name="connsiteY3" fmla="*/ 759 h 8818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43198" h="881826">
                    <a:moveTo>
                      <a:pt x="243198" y="759"/>
                    </a:moveTo>
                    <a:cubicBezTo>
                      <a:pt x="219380" y="-7563"/>
                      <a:pt x="-42296" y="47437"/>
                      <a:pt x="5914" y="422328"/>
                    </a:cubicBezTo>
                    <a:cubicBezTo>
                      <a:pt x="54124" y="797219"/>
                      <a:pt x="170233" y="881827"/>
                      <a:pt x="170233" y="881827"/>
                    </a:cubicBezTo>
                    <a:lnTo>
                      <a:pt x="243198" y="759"/>
                    </a:lnTo>
                    <a:close/>
                  </a:path>
                </a:pathLst>
              </a:custGeom>
              <a:solidFill>
                <a:schemeClr val="bg2">
                  <a:lumMod val="10000"/>
                </a:schemeClr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grpSp>
            <p:nvGrpSpPr>
              <p:cNvPr id="1265" name="Graphic 1191">
                <a:extLst>
                  <a:ext uri="{FF2B5EF4-FFF2-40B4-BE49-F238E27FC236}">
                    <a16:creationId xmlns:a16="http://schemas.microsoft.com/office/drawing/2014/main" id="{D7470B44-9564-78E9-C93D-BA88E28C9271}"/>
                  </a:ext>
                </a:extLst>
              </p:cNvPr>
              <p:cNvGrpSpPr/>
              <p:nvPr/>
            </p:nvGrpSpPr>
            <p:grpSpPr>
              <a:xfrm>
                <a:off x="3922554" y="6454458"/>
                <a:ext cx="281885" cy="293519"/>
                <a:chOff x="3922554" y="6454458"/>
                <a:chExt cx="281885" cy="293519"/>
              </a:xfrm>
            </p:grpSpPr>
            <p:grpSp>
              <p:nvGrpSpPr>
                <p:cNvPr id="1266" name="Graphic 1191">
                  <a:extLst>
                    <a:ext uri="{FF2B5EF4-FFF2-40B4-BE49-F238E27FC236}">
                      <a16:creationId xmlns:a16="http://schemas.microsoft.com/office/drawing/2014/main" id="{DD103866-07A6-B1F8-8E8A-08B3F2DA85D7}"/>
                    </a:ext>
                  </a:extLst>
                </p:cNvPr>
                <p:cNvGrpSpPr/>
                <p:nvPr/>
              </p:nvGrpSpPr>
              <p:grpSpPr>
                <a:xfrm>
                  <a:off x="3922554" y="6454458"/>
                  <a:ext cx="281885" cy="293519"/>
                  <a:chOff x="3922554" y="6454458"/>
                  <a:chExt cx="281885" cy="293519"/>
                </a:xfrm>
              </p:grpSpPr>
              <p:sp>
                <p:nvSpPr>
                  <p:cNvPr id="1267" name="Freeform: Shape 1266">
                    <a:extLst>
                      <a:ext uri="{FF2B5EF4-FFF2-40B4-BE49-F238E27FC236}">
                        <a16:creationId xmlns:a16="http://schemas.microsoft.com/office/drawing/2014/main" id="{6E8AAA57-6C82-49D4-286B-BA2233FA55A3}"/>
                      </a:ext>
                    </a:extLst>
                  </p:cNvPr>
                  <p:cNvSpPr/>
                  <p:nvPr/>
                </p:nvSpPr>
                <p:spPr>
                  <a:xfrm>
                    <a:off x="3925720" y="6454458"/>
                    <a:ext cx="231455" cy="252628"/>
                  </a:xfrm>
                  <a:custGeom>
                    <a:avLst/>
                    <a:gdLst>
                      <a:gd name="connsiteX0" fmla="*/ 39574 w 231455"/>
                      <a:gd name="connsiteY0" fmla="*/ 21391 h 252628"/>
                      <a:gd name="connsiteX1" fmla="*/ 1112 w 231455"/>
                      <a:gd name="connsiteY1" fmla="*/ 129583 h 252628"/>
                      <a:gd name="connsiteX2" fmla="*/ 7136 w 231455"/>
                      <a:gd name="connsiteY2" fmla="*/ 147866 h 252628"/>
                      <a:gd name="connsiteX3" fmla="*/ 63690 w 231455"/>
                      <a:gd name="connsiteY3" fmla="*/ 181943 h 252628"/>
                      <a:gd name="connsiteX4" fmla="*/ 152810 w 231455"/>
                      <a:gd name="connsiteY4" fmla="*/ 250992 h 252628"/>
                      <a:gd name="connsiteX5" fmla="*/ 218452 w 231455"/>
                      <a:gd name="connsiteY5" fmla="*/ 250651 h 252628"/>
                      <a:gd name="connsiteX6" fmla="*/ 227669 w 231455"/>
                      <a:gd name="connsiteY6" fmla="*/ 226642 h 252628"/>
                      <a:gd name="connsiteX7" fmla="*/ 139975 w 231455"/>
                      <a:gd name="connsiteY7" fmla="*/ 113023 h 252628"/>
                      <a:gd name="connsiteX8" fmla="*/ 113646 w 231455"/>
                      <a:gd name="connsiteY8" fmla="*/ 0 h 252628"/>
                      <a:gd name="connsiteX9" fmla="*/ 39574 w 231455"/>
                      <a:gd name="connsiteY9" fmla="*/ 21391 h 25262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</a:cxnLst>
                    <a:rect l="l" t="t" r="r" b="b"/>
                    <a:pathLst>
                      <a:path w="231455" h="252628">
                        <a:moveTo>
                          <a:pt x="39574" y="21391"/>
                        </a:moveTo>
                        <a:lnTo>
                          <a:pt x="1112" y="129583"/>
                        </a:lnTo>
                        <a:cubicBezTo>
                          <a:pt x="-1676" y="136394"/>
                          <a:pt x="942" y="144312"/>
                          <a:pt x="7136" y="147866"/>
                        </a:cubicBezTo>
                        <a:cubicBezTo>
                          <a:pt x="25313" y="158275"/>
                          <a:pt x="60135" y="178367"/>
                          <a:pt x="63690" y="181943"/>
                        </a:cubicBezTo>
                        <a:cubicBezTo>
                          <a:pt x="120670" y="239157"/>
                          <a:pt x="107771" y="244883"/>
                          <a:pt x="152810" y="250992"/>
                        </a:cubicBezTo>
                        <a:cubicBezTo>
                          <a:pt x="178330" y="254461"/>
                          <a:pt x="195486" y="251460"/>
                          <a:pt x="218452" y="250651"/>
                        </a:cubicBezTo>
                        <a:cubicBezTo>
                          <a:pt x="230095" y="250225"/>
                          <a:pt x="235736" y="235496"/>
                          <a:pt x="227669" y="226642"/>
                        </a:cubicBezTo>
                        <a:cubicBezTo>
                          <a:pt x="194188" y="189947"/>
                          <a:pt x="149064" y="121537"/>
                          <a:pt x="139975" y="113023"/>
                        </a:cubicBezTo>
                        <a:cubicBezTo>
                          <a:pt x="114433" y="89077"/>
                          <a:pt x="113646" y="0"/>
                          <a:pt x="113646" y="0"/>
                        </a:cubicBezTo>
                        <a:lnTo>
                          <a:pt x="39574" y="21391"/>
                        </a:lnTo>
                        <a:close/>
                      </a:path>
                    </a:pathLst>
                  </a:custGeom>
                  <a:solidFill>
                    <a:srgbClr val="D19175"/>
                  </a:solidFill>
                  <a:ln w="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GB"/>
                  </a:p>
                </p:txBody>
              </p:sp>
              <p:sp>
                <p:nvSpPr>
                  <p:cNvPr id="1268" name="Freeform: Shape 1267">
                    <a:extLst>
                      <a:ext uri="{FF2B5EF4-FFF2-40B4-BE49-F238E27FC236}">
                        <a16:creationId xmlns:a16="http://schemas.microsoft.com/office/drawing/2014/main" id="{0C7D6ED3-712D-BD25-C929-BC4ED572BEBB}"/>
                      </a:ext>
                    </a:extLst>
                  </p:cNvPr>
                  <p:cNvSpPr/>
                  <p:nvPr/>
                </p:nvSpPr>
                <p:spPr>
                  <a:xfrm>
                    <a:off x="3922554" y="6590128"/>
                    <a:ext cx="281885" cy="157849"/>
                  </a:xfrm>
                  <a:custGeom>
                    <a:avLst/>
                    <a:gdLst>
                      <a:gd name="connsiteX0" fmla="*/ 2746 w 281885"/>
                      <a:gd name="connsiteY0" fmla="*/ 0 h 157849"/>
                      <a:gd name="connsiteX1" fmla="*/ 0 w 281885"/>
                      <a:gd name="connsiteY1" fmla="*/ 156891 h 157849"/>
                      <a:gd name="connsiteX2" fmla="*/ 45975 w 281885"/>
                      <a:gd name="connsiteY2" fmla="*/ 157849 h 157849"/>
                      <a:gd name="connsiteX3" fmla="*/ 43741 w 281885"/>
                      <a:gd name="connsiteY3" fmla="*/ 43677 h 157849"/>
                      <a:gd name="connsiteX4" fmla="*/ 82351 w 281885"/>
                      <a:gd name="connsiteY4" fmla="*/ 128497 h 157849"/>
                      <a:gd name="connsiteX5" fmla="*/ 87332 w 281885"/>
                      <a:gd name="connsiteY5" fmla="*/ 157721 h 157849"/>
                      <a:gd name="connsiteX6" fmla="*/ 275959 w 281885"/>
                      <a:gd name="connsiteY6" fmla="*/ 155465 h 157849"/>
                      <a:gd name="connsiteX7" fmla="*/ 281259 w 281885"/>
                      <a:gd name="connsiteY7" fmla="*/ 134584 h 157849"/>
                      <a:gd name="connsiteX8" fmla="*/ 216595 w 281885"/>
                      <a:gd name="connsiteY8" fmla="*/ 75668 h 157849"/>
                      <a:gd name="connsiteX9" fmla="*/ 2767 w 281885"/>
                      <a:gd name="connsiteY9" fmla="*/ 21 h 15784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</a:cxnLst>
                    <a:rect l="l" t="t" r="r" b="b"/>
                    <a:pathLst>
                      <a:path w="281885" h="157849">
                        <a:moveTo>
                          <a:pt x="2746" y="0"/>
                        </a:moveTo>
                        <a:lnTo>
                          <a:pt x="0" y="156891"/>
                        </a:lnTo>
                        <a:lnTo>
                          <a:pt x="45975" y="157849"/>
                        </a:lnTo>
                        <a:lnTo>
                          <a:pt x="43741" y="43677"/>
                        </a:lnTo>
                        <a:cubicBezTo>
                          <a:pt x="43741" y="43677"/>
                          <a:pt x="76157" y="105062"/>
                          <a:pt x="82351" y="128497"/>
                        </a:cubicBezTo>
                        <a:cubicBezTo>
                          <a:pt x="88545" y="151932"/>
                          <a:pt x="87332" y="157721"/>
                          <a:pt x="87332" y="157721"/>
                        </a:cubicBezTo>
                        <a:lnTo>
                          <a:pt x="275959" y="155465"/>
                        </a:lnTo>
                        <a:cubicBezTo>
                          <a:pt x="275959" y="155465"/>
                          <a:pt x="284175" y="154188"/>
                          <a:pt x="281259" y="134584"/>
                        </a:cubicBezTo>
                        <a:cubicBezTo>
                          <a:pt x="275044" y="92930"/>
                          <a:pt x="216595" y="75668"/>
                          <a:pt x="216595" y="75668"/>
                        </a:cubicBezTo>
                        <a:cubicBezTo>
                          <a:pt x="216595" y="75668"/>
                          <a:pt x="96399" y="88205"/>
                          <a:pt x="2767" y="21"/>
                        </a:cubicBezTo>
                        <a:close/>
                      </a:path>
                    </a:pathLst>
                  </a:custGeom>
                  <a:solidFill>
                    <a:schemeClr val="accent2"/>
                  </a:solidFill>
                  <a:ln w="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GB"/>
                  </a:p>
                </p:txBody>
              </p:sp>
            </p:grpSp>
            <p:sp>
              <p:nvSpPr>
                <p:cNvPr id="1269" name="Freeform: Shape 1268">
                  <a:extLst>
                    <a:ext uri="{FF2B5EF4-FFF2-40B4-BE49-F238E27FC236}">
                      <a16:creationId xmlns:a16="http://schemas.microsoft.com/office/drawing/2014/main" id="{3AA1D605-1FBB-0BE8-A0CF-42ECF972F02D}"/>
                    </a:ext>
                  </a:extLst>
                </p:cNvPr>
                <p:cNvSpPr/>
                <p:nvPr/>
              </p:nvSpPr>
              <p:spPr>
                <a:xfrm>
                  <a:off x="3924502" y="6517561"/>
                  <a:ext cx="99198" cy="143276"/>
                </a:xfrm>
                <a:custGeom>
                  <a:avLst/>
                  <a:gdLst>
                    <a:gd name="connsiteX0" fmla="*/ 26255 w 99198"/>
                    <a:gd name="connsiteY0" fmla="*/ 305 h 143276"/>
                    <a:gd name="connsiteX1" fmla="*/ 85725 w 99198"/>
                    <a:gd name="connsiteY1" fmla="*/ 115797 h 143276"/>
                    <a:gd name="connsiteX2" fmla="*/ 99198 w 99198"/>
                    <a:gd name="connsiteY2" fmla="*/ 143276 h 143276"/>
                    <a:gd name="connsiteX3" fmla="*/ 9652 w 99198"/>
                    <a:gd name="connsiteY3" fmla="*/ 97748 h 143276"/>
                    <a:gd name="connsiteX4" fmla="*/ 564 w 99198"/>
                    <a:gd name="connsiteY4" fmla="*/ 84594 h 143276"/>
                    <a:gd name="connsiteX5" fmla="*/ 26255 w 99198"/>
                    <a:gd name="connsiteY5" fmla="*/ 305 h 14327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99198" h="143276">
                      <a:moveTo>
                        <a:pt x="26255" y="305"/>
                      </a:moveTo>
                      <a:cubicBezTo>
                        <a:pt x="26255" y="305"/>
                        <a:pt x="52393" y="63990"/>
                        <a:pt x="85725" y="115797"/>
                      </a:cubicBezTo>
                      <a:cubicBezTo>
                        <a:pt x="97900" y="134698"/>
                        <a:pt x="99198" y="143276"/>
                        <a:pt x="99198" y="143276"/>
                      </a:cubicBezTo>
                      <a:lnTo>
                        <a:pt x="9652" y="97748"/>
                      </a:lnTo>
                      <a:cubicBezTo>
                        <a:pt x="9652" y="97748"/>
                        <a:pt x="2032" y="92235"/>
                        <a:pt x="564" y="84594"/>
                      </a:cubicBezTo>
                      <a:cubicBezTo>
                        <a:pt x="-3906" y="61202"/>
                        <a:pt x="19465" y="-5037"/>
                        <a:pt x="26255" y="305"/>
                      </a:cubicBezTo>
                      <a:close/>
                    </a:path>
                  </a:pathLst>
                </a:custGeom>
                <a:solidFill>
                  <a:schemeClr val="accent2"/>
                </a:solidFill>
                <a:ln w="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GB"/>
                </a:p>
              </p:txBody>
            </p:sp>
          </p:grpSp>
          <p:sp>
            <p:nvSpPr>
              <p:cNvPr id="1270" name="Freeform: Shape 1269">
                <a:extLst>
                  <a:ext uri="{FF2B5EF4-FFF2-40B4-BE49-F238E27FC236}">
                    <a16:creationId xmlns:a16="http://schemas.microsoft.com/office/drawing/2014/main" id="{9406264B-4C23-ECB7-F870-091DEF63346A}"/>
                  </a:ext>
                </a:extLst>
              </p:cNvPr>
              <p:cNvSpPr/>
              <p:nvPr/>
            </p:nvSpPr>
            <p:spPr>
              <a:xfrm>
                <a:off x="3802823" y="4241678"/>
                <a:ext cx="281674" cy="2307902"/>
              </a:xfrm>
              <a:custGeom>
                <a:avLst/>
                <a:gdLst>
                  <a:gd name="connsiteX0" fmla="*/ 236011 w 281674"/>
                  <a:gd name="connsiteY0" fmla="*/ 2307902 h 2307902"/>
                  <a:gd name="connsiteX1" fmla="*/ 260190 w 281674"/>
                  <a:gd name="connsiteY1" fmla="*/ 1092044 h 2307902"/>
                  <a:gd name="connsiteX2" fmla="*/ 254337 w 281674"/>
                  <a:gd name="connsiteY2" fmla="*/ 169471 h 2307902"/>
                  <a:gd name="connsiteX3" fmla="*/ 181223 w 281674"/>
                  <a:gd name="connsiteY3" fmla="*/ 11536 h 2307902"/>
                  <a:gd name="connsiteX4" fmla="*/ 123626 w 281674"/>
                  <a:gd name="connsiteY4" fmla="*/ 0 h 2307902"/>
                  <a:gd name="connsiteX5" fmla="*/ 2366 w 281674"/>
                  <a:gd name="connsiteY5" fmla="*/ 270127 h 2307902"/>
                  <a:gd name="connsiteX6" fmla="*/ 150105 w 281674"/>
                  <a:gd name="connsiteY6" fmla="*/ 2272974 h 2307902"/>
                  <a:gd name="connsiteX7" fmla="*/ 236053 w 281674"/>
                  <a:gd name="connsiteY7" fmla="*/ 2307881 h 23079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81674" h="2307902">
                    <a:moveTo>
                      <a:pt x="236011" y="2307902"/>
                    </a:moveTo>
                    <a:cubicBezTo>
                      <a:pt x="238692" y="1919325"/>
                      <a:pt x="265788" y="1529130"/>
                      <a:pt x="260190" y="1092044"/>
                    </a:cubicBezTo>
                    <a:cubicBezTo>
                      <a:pt x="259403" y="1030232"/>
                      <a:pt x="312658" y="521481"/>
                      <a:pt x="254337" y="169471"/>
                    </a:cubicBezTo>
                    <a:cubicBezTo>
                      <a:pt x="247568" y="128603"/>
                      <a:pt x="146209" y="21881"/>
                      <a:pt x="181223" y="11536"/>
                    </a:cubicBezTo>
                    <a:lnTo>
                      <a:pt x="123626" y="0"/>
                    </a:lnTo>
                    <a:cubicBezTo>
                      <a:pt x="123626" y="0"/>
                      <a:pt x="-20004" y="57022"/>
                      <a:pt x="2366" y="270127"/>
                    </a:cubicBezTo>
                    <a:cubicBezTo>
                      <a:pt x="19756" y="435788"/>
                      <a:pt x="-21814" y="1265282"/>
                      <a:pt x="150105" y="2272974"/>
                    </a:cubicBezTo>
                    <a:cubicBezTo>
                      <a:pt x="188716" y="2277124"/>
                      <a:pt x="192781" y="2302900"/>
                      <a:pt x="236053" y="2307881"/>
                    </a:cubicBezTo>
                    <a:close/>
                  </a:path>
                </a:pathLst>
              </a:custGeom>
              <a:solidFill>
                <a:srgbClr val="D19175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1271" name="Freeform: Shape 1270">
                <a:extLst>
                  <a:ext uri="{FF2B5EF4-FFF2-40B4-BE49-F238E27FC236}">
                    <a16:creationId xmlns:a16="http://schemas.microsoft.com/office/drawing/2014/main" id="{0707D3F5-4C9C-8239-F45B-5733B9007ACC}"/>
                  </a:ext>
                </a:extLst>
              </p:cNvPr>
              <p:cNvSpPr/>
              <p:nvPr/>
            </p:nvSpPr>
            <p:spPr>
              <a:xfrm>
                <a:off x="3501525" y="4254300"/>
                <a:ext cx="384419" cy="2272624"/>
              </a:xfrm>
              <a:custGeom>
                <a:avLst/>
                <a:gdLst>
                  <a:gd name="connsiteX0" fmla="*/ 229763 w 384419"/>
                  <a:gd name="connsiteY0" fmla="*/ 2272016 h 2272624"/>
                  <a:gd name="connsiteX1" fmla="*/ 326460 w 384419"/>
                  <a:gd name="connsiteY1" fmla="*/ 493895 h 2272624"/>
                  <a:gd name="connsiteX2" fmla="*/ 320522 w 384419"/>
                  <a:gd name="connsiteY2" fmla="*/ 121920 h 2272624"/>
                  <a:gd name="connsiteX3" fmla="*/ 384419 w 384419"/>
                  <a:gd name="connsiteY3" fmla="*/ 39015 h 2272624"/>
                  <a:gd name="connsiteX4" fmla="*/ 142771 w 384419"/>
                  <a:gd name="connsiteY4" fmla="*/ 0 h 2272624"/>
                  <a:gd name="connsiteX5" fmla="*/ 1312 w 384419"/>
                  <a:gd name="connsiteY5" fmla="*/ 557537 h 2272624"/>
                  <a:gd name="connsiteX6" fmla="*/ 143836 w 384419"/>
                  <a:gd name="connsiteY6" fmla="*/ 2268419 h 2272624"/>
                  <a:gd name="connsiteX7" fmla="*/ 229784 w 384419"/>
                  <a:gd name="connsiteY7" fmla="*/ 2271995 h 22726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84419" h="2272624">
                    <a:moveTo>
                      <a:pt x="229763" y="2272016"/>
                    </a:moveTo>
                    <a:cubicBezTo>
                      <a:pt x="251261" y="1799278"/>
                      <a:pt x="332058" y="930981"/>
                      <a:pt x="326460" y="493895"/>
                    </a:cubicBezTo>
                    <a:cubicBezTo>
                      <a:pt x="325673" y="432084"/>
                      <a:pt x="337720" y="494193"/>
                      <a:pt x="320522" y="121920"/>
                    </a:cubicBezTo>
                    <a:cubicBezTo>
                      <a:pt x="318606" y="80542"/>
                      <a:pt x="349405" y="49338"/>
                      <a:pt x="384419" y="39015"/>
                    </a:cubicBezTo>
                    <a:lnTo>
                      <a:pt x="142771" y="0"/>
                    </a:lnTo>
                    <a:cubicBezTo>
                      <a:pt x="142771" y="0"/>
                      <a:pt x="17105" y="343858"/>
                      <a:pt x="1312" y="557537"/>
                    </a:cubicBezTo>
                    <a:cubicBezTo>
                      <a:pt x="-14631" y="773217"/>
                      <a:pt x="119549" y="1886993"/>
                      <a:pt x="143836" y="2268419"/>
                    </a:cubicBezTo>
                    <a:cubicBezTo>
                      <a:pt x="187108" y="2267461"/>
                      <a:pt x="183809" y="2274762"/>
                      <a:pt x="229784" y="2271995"/>
                    </a:cubicBezTo>
                    <a:close/>
                  </a:path>
                </a:pathLst>
              </a:custGeom>
              <a:solidFill>
                <a:srgbClr val="D19175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1272" name="Freeform: Shape 1271">
                <a:extLst>
                  <a:ext uri="{FF2B5EF4-FFF2-40B4-BE49-F238E27FC236}">
                    <a16:creationId xmlns:a16="http://schemas.microsoft.com/office/drawing/2014/main" id="{9E07E481-3BEA-2C8A-8671-14A0DC5BC07F}"/>
                  </a:ext>
                </a:extLst>
              </p:cNvPr>
              <p:cNvSpPr/>
              <p:nvPr/>
            </p:nvSpPr>
            <p:spPr>
              <a:xfrm>
                <a:off x="3448220" y="3482892"/>
                <a:ext cx="612467" cy="902646"/>
              </a:xfrm>
              <a:custGeom>
                <a:avLst/>
                <a:gdLst>
                  <a:gd name="connsiteX0" fmla="*/ 491554 w 612467"/>
                  <a:gd name="connsiteY0" fmla="*/ 44720 h 902646"/>
                  <a:gd name="connsiteX1" fmla="*/ 206868 w 612467"/>
                  <a:gd name="connsiteY1" fmla="*/ 0 h 902646"/>
                  <a:gd name="connsiteX2" fmla="*/ 0 w 612467"/>
                  <a:gd name="connsiteY2" fmla="*/ 122175 h 902646"/>
                  <a:gd name="connsiteX3" fmla="*/ 6832 w 612467"/>
                  <a:gd name="connsiteY3" fmla="*/ 139012 h 902646"/>
                  <a:gd name="connsiteX4" fmla="*/ 40292 w 612467"/>
                  <a:gd name="connsiteY4" fmla="*/ 354883 h 902646"/>
                  <a:gd name="connsiteX5" fmla="*/ 54340 w 612467"/>
                  <a:gd name="connsiteY5" fmla="*/ 414141 h 902646"/>
                  <a:gd name="connsiteX6" fmla="*/ 79989 w 612467"/>
                  <a:gd name="connsiteY6" fmla="*/ 466076 h 902646"/>
                  <a:gd name="connsiteX7" fmla="*/ 103913 w 612467"/>
                  <a:gd name="connsiteY7" fmla="*/ 524013 h 902646"/>
                  <a:gd name="connsiteX8" fmla="*/ 105552 w 612467"/>
                  <a:gd name="connsiteY8" fmla="*/ 529505 h 902646"/>
                  <a:gd name="connsiteX9" fmla="*/ 107340 w 612467"/>
                  <a:gd name="connsiteY9" fmla="*/ 498982 h 902646"/>
                  <a:gd name="connsiteX10" fmla="*/ 139778 w 612467"/>
                  <a:gd name="connsiteY10" fmla="*/ 617880 h 902646"/>
                  <a:gd name="connsiteX11" fmla="*/ 119983 w 612467"/>
                  <a:gd name="connsiteY11" fmla="*/ 854951 h 902646"/>
                  <a:gd name="connsiteX12" fmla="*/ 117429 w 612467"/>
                  <a:gd name="connsiteY12" fmla="*/ 870787 h 902646"/>
                  <a:gd name="connsiteX13" fmla="*/ 517564 w 612467"/>
                  <a:gd name="connsiteY13" fmla="*/ 878833 h 902646"/>
                  <a:gd name="connsiteX14" fmla="*/ 539275 w 612467"/>
                  <a:gd name="connsiteY14" fmla="*/ 531016 h 902646"/>
                  <a:gd name="connsiteX15" fmla="*/ 604577 w 612467"/>
                  <a:gd name="connsiteY15" fmla="*/ 386194 h 902646"/>
                  <a:gd name="connsiteX16" fmla="*/ 491532 w 612467"/>
                  <a:gd name="connsiteY16" fmla="*/ 44720 h 9026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612467" h="902646">
                    <a:moveTo>
                      <a:pt x="491554" y="44720"/>
                    </a:moveTo>
                    <a:cubicBezTo>
                      <a:pt x="410416" y="1320"/>
                      <a:pt x="283600" y="3171"/>
                      <a:pt x="206868" y="0"/>
                    </a:cubicBezTo>
                    <a:cubicBezTo>
                      <a:pt x="100401" y="47231"/>
                      <a:pt x="37525" y="79116"/>
                      <a:pt x="0" y="122175"/>
                    </a:cubicBezTo>
                    <a:cubicBezTo>
                      <a:pt x="2554" y="127518"/>
                      <a:pt x="4832" y="133137"/>
                      <a:pt x="6832" y="139012"/>
                    </a:cubicBezTo>
                    <a:cubicBezTo>
                      <a:pt x="30544" y="208273"/>
                      <a:pt x="31991" y="282621"/>
                      <a:pt x="40292" y="354883"/>
                    </a:cubicBezTo>
                    <a:cubicBezTo>
                      <a:pt x="43464" y="375019"/>
                      <a:pt x="47636" y="394920"/>
                      <a:pt x="54340" y="414141"/>
                    </a:cubicBezTo>
                    <a:cubicBezTo>
                      <a:pt x="62641" y="431573"/>
                      <a:pt x="71837" y="448558"/>
                      <a:pt x="79989" y="466076"/>
                    </a:cubicBezTo>
                    <a:cubicBezTo>
                      <a:pt x="88779" y="484955"/>
                      <a:pt x="97400" y="504197"/>
                      <a:pt x="103913" y="524013"/>
                    </a:cubicBezTo>
                    <a:cubicBezTo>
                      <a:pt x="104509" y="525844"/>
                      <a:pt x="105041" y="527674"/>
                      <a:pt x="105552" y="529505"/>
                    </a:cubicBezTo>
                    <a:cubicBezTo>
                      <a:pt x="106041" y="518607"/>
                      <a:pt x="106616" y="508369"/>
                      <a:pt x="107340" y="498982"/>
                    </a:cubicBezTo>
                    <a:cubicBezTo>
                      <a:pt x="130583" y="563582"/>
                      <a:pt x="136649" y="594020"/>
                      <a:pt x="139778" y="617880"/>
                    </a:cubicBezTo>
                    <a:cubicBezTo>
                      <a:pt x="153273" y="720814"/>
                      <a:pt x="125581" y="818810"/>
                      <a:pt x="119983" y="854951"/>
                    </a:cubicBezTo>
                    <a:cubicBezTo>
                      <a:pt x="118961" y="862082"/>
                      <a:pt x="118451" y="866701"/>
                      <a:pt x="117429" y="870787"/>
                    </a:cubicBezTo>
                    <a:cubicBezTo>
                      <a:pt x="151463" y="875853"/>
                      <a:pt x="518075" y="934472"/>
                      <a:pt x="517564" y="878833"/>
                    </a:cubicBezTo>
                    <a:cubicBezTo>
                      <a:pt x="516883" y="805017"/>
                      <a:pt x="531952" y="555834"/>
                      <a:pt x="539275" y="531016"/>
                    </a:cubicBezTo>
                    <a:cubicBezTo>
                      <a:pt x="546618" y="506177"/>
                      <a:pt x="593594" y="416844"/>
                      <a:pt x="604577" y="386194"/>
                    </a:cubicBezTo>
                    <a:cubicBezTo>
                      <a:pt x="640059" y="287155"/>
                      <a:pt x="547618" y="74710"/>
                      <a:pt x="491532" y="44720"/>
                    </a:cubicBezTo>
                    <a:close/>
                  </a:path>
                </a:pathLst>
              </a:custGeom>
              <a:solidFill>
                <a:schemeClr val="bg1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1273" name="Freeform: Shape 1272">
                <a:extLst>
                  <a:ext uri="{FF2B5EF4-FFF2-40B4-BE49-F238E27FC236}">
                    <a16:creationId xmlns:a16="http://schemas.microsoft.com/office/drawing/2014/main" id="{A8311B02-4B77-65BA-A211-A36BD88D9741}"/>
                  </a:ext>
                </a:extLst>
              </p:cNvPr>
              <p:cNvSpPr/>
              <p:nvPr/>
            </p:nvSpPr>
            <p:spPr>
              <a:xfrm>
                <a:off x="3798165" y="3594212"/>
                <a:ext cx="114638" cy="787605"/>
              </a:xfrm>
              <a:custGeom>
                <a:avLst/>
                <a:gdLst>
                  <a:gd name="connsiteX0" fmla="*/ 0 w 114638"/>
                  <a:gd name="connsiteY0" fmla="*/ 0 h 787605"/>
                  <a:gd name="connsiteX1" fmla="*/ 84373 w 114638"/>
                  <a:gd name="connsiteY1" fmla="*/ 787606 h 7876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4638" h="787605">
                    <a:moveTo>
                      <a:pt x="0" y="0"/>
                    </a:moveTo>
                    <a:cubicBezTo>
                      <a:pt x="227855" y="279897"/>
                      <a:pt x="37462" y="260570"/>
                      <a:pt x="84373" y="787606"/>
                    </a:cubicBezTo>
                  </a:path>
                </a:pathLst>
              </a:custGeom>
              <a:noFill/>
              <a:ln w="12700" cap="rnd">
                <a:solidFill>
                  <a:schemeClr val="accent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1274" name="Freeform: Shape 1273">
                <a:extLst>
                  <a:ext uri="{FF2B5EF4-FFF2-40B4-BE49-F238E27FC236}">
                    <a16:creationId xmlns:a16="http://schemas.microsoft.com/office/drawing/2014/main" id="{E077313F-322E-F0DA-3D96-FBE1B92689BB}"/>
                  </a:ext>
                </a:extLst>
              </p:cNvPr>
              <p:cNvSpPr/>
              <p:nvPr/>
            </p:nvSpPr>
            <p:spPr>
              <a:xfrm>
                <a:off x="3557364" y="2874382"/>
                <a:ext cx="412953" cy="458694"/>
              </a:xfrm>
              <a:custGeom>
                <a:avLst/>
                <a:gdLst>
                  <a:gd name="connsiteX0" fmla="*/ 395861 w 412953"/>
                  <a:gd name="connsiteY0" fmla="*/ 62531 h 458694"/>
                  <a:gd name="connsiteX1" fmla="*/ 110452 w 412953"/>
                  <a:gd name="connsiteY1" fmla="*/ 30476 h 458694"/>
                  <a:gd name="connsiteX2" fmla="*/ 8816 w 412953"/>
                  <a:gd name="connsiteY2" fmla="*/ 281382 h 458694"/>
                  <a:gd name="connsiteX3" fmla="*/ 147360 w 412953"/>
                  <a:gd name="connsiteY3" fmla="*/ 451981 h 458694"/>
                  <a:gd name="connsiteX4" fmla="*/ 338520 w 412953"/>
                  <a:gd name="connsiteY4" fmla="*/ 390425 h 458694"/>
                  <a:gd name="connsiteX5" fmla="*/ 412953 w 412953"/>
                  <a:gd name="connsiteY5" fmla="*/ 202032 h 458694"/>
                  <a:gd name="connsiteX6" fmla="*/ 395883 w 412953"/>
                  <a:gd name="connsiteY6" fmla="*/ 62509 h 4586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12953" h="458694">
                    <a:moveTo>
                      <a:pt x="395861" y="62531"/>
                    </a:moveTo>
                    <a:cubicBezTo>
                      <a:pt x="395861" y="62531"/>
                      <a:pt x="259893" y="-53430"/>
                      <a:pt x="110452" y="30476"/>
                    </a:cubicBezTo>
                    <a:cubicBezTo>
                      <a:pt x="-44353" y="117403"/>
                      <a:pt x="8816" y="281382"/>
                      <a:pt x="8816" y="281382"/>
                    </a:cubicBezTo>
                    <a:cubicBezTo>
                      <a:pt x="8816" y="281382"/>
                      <a:pt x="54600" y="438316"/>
                      <a:pt x="147360" y="451981"/>
                    </a:cubicBezTo>
                    <a:cubicBezTo>
                      <a:pt x="365594" y="484121"/>
                      <a:pt x="338520" y="390425"/>
                      <a:pt x="338520" y="390425"/>
                    </a:cubicBezTo>
                    <a:lnTo>
                      <a:pt x="412953" y="202032"/>
                    </a:lnTo>
                    <a:lnTo>
                      <a:pt x="395883" y="62509"/>
                    </a:lnTo>
                    <a:close/>
                  </a:path>
                </a:pathLst>
              </a:custGeom>
              <a:solidFill>
                <a:schemeClr val="bg2">
                  <a:lumMod val="10000"/>
                </a:schemeClr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1275" name="Freeform: Shape 1274">
                <a:extLst>
                  <a:ext uri="{FF2B5EF4-FFF2-40B4-BE49-F238E27FC236}">
                    <a16:creationId xmlns:a16="http://schemas.microsoft.com/office/drawing/2014/main" id="{C905B204-B334-0B32-AAEA-FCD5C30AEA58}"/>
                  </a:ext>
                </a:extLst>
              </p:cNvPr>
              <p:cNvSpPr/>
              <p:nvPr/>
            </p:nvSpPr>
            <p:spPr>
              <a:xfrm>
                <a:off x="3436530" y="4353680"/>
                <a:ext cx="676438" cy="1310448"/>
              </a:xfrm>
              <a:custGeom>
                <a:avLst/>
                <a:gdLst>
                  <a:gd name="connsiteX0" fmla="*/ 78524 w 676438"/>
                  <a:gd name="connsiteY0" fmla="*/ 1310427 h 1310448"/>
                  <a:gd name="connsiteX1" fmla="*/ 631847 w 676438"/>
                  <a:gd name="connsiteY1" fmla="*/ 1294974 h 1310448"/>
                  <a:gd name="connsiteX2" fmla="*/ 650641 w 676438"/>
                  <a:gd name="connsiteY2" fmla="*/ 267488 h 1310448"/>
                  <a:gd name="connsiteX3" fmla="*/ 562011 w 676438"/>
                  <a:gd name="connsiteY3" fmla="*/ 2256 h 1310448"/>
                  <a:gd name="connsiteX4" fmla="*/ 129140 w 676438"/>
                  <a:gd name="connsiteY4" fmla="*/ 0 h 1310448"/>
                  <a:gd name="connsiteX5" fmla="*/ 8710 w 676438"/>
                  <a:gd name="connsiteY5" fmla="*/ 553344 h 1310448"/>
                  <a:gd name="connsiteX6" fmla="*/ 78545 w 676438"/>
                  <a:gd name="connsiteY6" fmla="*/ 1310449 h 13104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76438" h="1310448">
                    <a:moveTo>
                      <a:pt x="78524" y="1310427"/>
                    </a:moveTo>
                    <a:lnTo>
                      <a:pt x="631847" y="1294974"/>
                    </a:lnTo>
                    <a:cubicBezTo>
                      <a:pt x="648577" y="1324475"/>
                      <a:pt x="711091" y="536870"/>
                      <a:pt x="650641" y="267488"/>
                    </a:cubicBezTo>
                    <a:cubicBezTo>
                      <a:pt x="634380" y="194970"/>
                      <a:pt x="562011" y="2256"/>
                      <a:pt x="562011" y="2256"/>
                    </a:cubicBezTo>
                    <a:lnTo>
                      <a:pt x="129140" y="0"/>
                    </a:lnTo>
                    <a:cubicBezTo>
                      <a:pt x="129140" y="0"/>
                      <a:pt x="-39650" y="239179"/>
                      <a:pt x="8710" y="553344"/>
                    </a:cubicBezTo>
                    <a:cubicBezTo>
                      <a:pt x="57048" y="867509"/>
                      <a:pt x="78545" y="1310449"/>
                      <a:pt x="78545" y="1310449"/>
                    </a:cubicBezTo>
                    <a:close/>
                  </a:path>
                </a:pathLst>
              </a:custGeom>
              <a:solidFill>
                <a:schemeClr val="tx2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1276" name="Freeform: Shape 1275">
                <a:extLst>
                  <a:ext uri="{FF2B5EF4-FFF2-40B4-BE49-F238E27FC236}">
                    <a16:creationId xmlns:a16="http://schemas.microsoft.com/office/drawing/2014/main" id="{F8F1CF3A-C6F0-23E4-CA77-DA1C173B0F9E}"/>
                  </a:ext>
                </a:extLst>
              </p:cNvPr>
              <p:cNvSpPr/>
              <p:nvPr/>
            </p:nvSpPr>
            <p:spPr>
              <a:xfrm rot="2201399">
                <a:off x="3695597" y="4157294"/>
                <a:ext cx="462755" cy="650083"/>
              </a:xfrm>
              <a:custGeom>
                <a:avLst/>
                <a:gdLst>
                  <a:gd name="connsiteX0" fmla="*/ 0 w 462755"/>
                  <a:gd name="connsiteY0" fmla="*/ 0 h 650083"/>
                  <a:gd name="connsiteX1" fmla="*/ 462755 w 462755"/>
                  <a:gd name="connsiteY1" fmla="*/ 0 h 650083"/>
                  <a:gd name="connsiteX2" fmla="*/ 462755 w 462755"/>
                  <a:gd name="connsiteY2" fmla="*/ 650084 h 650083"/>
                  <a:gd name="connsiteX3" fmla="*/ 0 w 462755"/>
                  <a:gd name="connsiteY3" fmla="*/ 650084 h 6500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62755" h="650083">
                    <a:moveTo>
                      <a:pt x="0" y="0"/>
                    </a:moveTo>
                    <a:lnTo>
                      <a:pt x="462755" y="0"/>
                    </a:lnTo>
                    <a:lnTo>
                      <a:pt x="462755" y="650084"/>
                    </a:lnTo>
                    <a:lnTo>
                      <a:pt x="0" y="650084"/>
                    </a:lnTo>
                    <a:close/>
                  </a:path>
                </a:pathLst>
              </a:custGeom>
              <a:solidFill>
                <a:schemeClr val="accent1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1278" name="Freeform: Shape 1277">
                <a:extLst>
                  <a:ext uri="{FF2B5EF4-FFF2-40B4-BE49-F238E27FC236}">
                    <a16:creationId xmlns:a16="http://schemas.microsoft.com/office/drawing/2014/main" id="{88383EBD-DF67-B417-D88B-951248520DF8}"/>
                  </a:ext>
                </a:extLst>
              </p:cNvPr>
              <p:cNvSpPr/>
              <p:nvPr/>
            </p:nvSpPr>
            <p:spPr>
              <a:xfrm>
                <a:off x="3653193" y="3395959"/>
                <a:ext cx="198257" cy="173949"/>
              </a:xfrm>
              <a:custGeom>
                <a:avLst/>
                <a:gdLst>
                  <a:gd name="connsiteX0" fmla="*/ 198248 w 198257"/>
                  <a:gd name="connsiteY0" fmla="*/ 127099 h 173949"/>
                  <a:gd name="connsiteX1" fmla="*/ 189095 w 198257"/>
                  <a:gd name="connsiteY1" fmla="*/ 37085 h 173949"/>
                  <a:gd name="connsiteX2" fmla="*/ 136564 w 198257"/>
                  <a:gd name="connsiteY2" fmla="*/ 9010 h 173949"/>
                  <a:gd name="connsiteX3" fmla="*/ 0 w 198257"/>
                  <a:gd name="connsiteY3" fmla="*/ 93575 h 173949"/>
                  <a:gd name="connsiteX4" fmla="*/ 64600 w 198257"/>
                  <a:gd name="connsiteY4" fmla="*/ 161303 h 173949"/>
                  <a:gd name="connsiteX5" fmla="*/ 198248 w 198257"/>
                  <a:gd name="connsiteY5" fmla="*/ 127099 h 1739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98257" h="173949">
                    <a:moveTo>
                      <a:pt x="198248" y="127099"/>
                    </a:moveTo>
                    <a:lnTo>
                      <a:pt x="189095" y="37085"/>
                    </a:lnTo>
                    <a:cubicBezTo>
                      <a:pt x="189095" y="37085"/>
                      <a:pt x="147015" y="52474"/>
                      <a:pt x="136564" y="9010"/>
                    </a:cubicBezTo>
                    <a:cubicBezTo>
                      <a:pt x="126113" y="-34475"/>
                      <a:pt x="0" y="93575"/>
                      <a:pt x="0" y="93575"/>
                    </a:cubicBezTo>
                    <a:cubicBezTo>
                      <a:pt x="0" y="93575"/>
                      <a:pt x="2746" y="125821"/>
                      <a:pt x="64600" y="161303"/>
                    </a:cubicBezTo>
                    <a:cubicBezTo>
                      <a:pt x="97187" y="179991"/>
                      <a:pt x="199376" y="184781"/>
                      <a:pt x="198248" y="127099"/>
                    </a:cubicBezTo>
                    <a:close/>
                  </a:path>
                </a:pathLst>
              </a:custGeom>
              <a:solidFill>
                <a:srgbClr val="D19175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1279" name="Freeform: Shape 1278">
                <a:extLst>
                  <a:ext uri="{FF2B5EF4-FFF2-40B4-BE49-F238E27FC236}">
                    <a16:creationId xmlns:a16="http://schemas.microsoft.com/office/drawing/2014/main" id="{8AAA3D9F-DABE-BFB9-DC56-B7E1065B5EC0}"/>
                  </a:ext>
                </a:extLst>
              </p:cNvPr>
              <p:cNvSpPr/>
              <p:nvPr/>
            </p:nvSpPr>
            <p:spPr>
              <a:xfrm>
                <a:off x="3692574" y="2889839"/>
                <a:ext cx="327864" cy="347830"/>
              </a:xfrm>
              <a:custGeom>
                <a:avLst/>
                <a:gdLst>
                  <a:gd name="connsiteX0" fmla="*/ 61808 w 327864"/>
                  <a:gd name="connsiteY0" fmla="*/ 6484 h 347830"/>
                  <a:gd name="connsiteX1" fmla="*/ 327571 w 327864"/>
                  <a:gd name="connsiteY1" fmla="*/ 169377 h 347830"/>
                  <a:gd name="connsiteX2" fmla="*/ 156185 w 327864"/>
                  <a:gd name="connsiteY2" fmla="*/ 347830 h 347830"/>
                  <a:gd name="connsiteX3" fmla="*/ 26518 w 327864"/>
                  <a:gd name="connsiteY3" fmla="*/ 75532 h 347830"/>
                  <a:gd name="connsiteX4" fmla="*/ 61787 w 327864"/>
                  <a:gd name="connsiteY4" fmla="*/ 6462 h 3478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27864" h="347830">
                    <a:moveTo>
                      <a:pt x="61808" y="6484"/>
                    </a:moveTo>
                    <a:cubicBezTo>
                      <a:pt x="61808" y="6484"/>
                      <a:pt x="314545" y="-49815"/>
                      <a:pt x="327571" y="169377"/>
                    </a:cubicBezTo>
                    <a:cubicBezTo>
                      <a:pt x="334638" y="288254"/>
                      <a:pt x="212186" y="348000"/>
                      <a:pt x="156185" y="347830"/>
                    </a:cubicBezTo>
                    <a:cubicBezTo>
                      <a:pt x="100185" y="347660"/>
                      <a:pt x="26518" y="75532"/>
                      <a:pt x="26518" y="75532"/>
                    </a:cubicBezTo>
                    <a:cubicBezTo>
                      <a:pt x="26518" y="75532"/>
                      <a:pt x="-52279" y="88622"/>
                      <a:pt x="61787" y="6462"/>
                    </a:cubicBezTo>
                    <a:close/>
                  </a:path>
                </a:pathLst>
              </a:custGeom>
              <a:solidFill>
                <a:schemeClr val="bg2">
                  <a:lumMod val="10000"/>
                </a:schemeClr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1280" name="Freeform: Shape 1279">
                <a:extLst>
                  <a:ext uri="{FF2B5EF4-FFF2-40B4-BE49-F238E27FC236}">
                    <a16:creationId xmlns:a16="http://schemas.microsoft.com/office/drawing/2014/main" id="{5ED48D28-106B-3143-5FB7-0895B28E01A9}"/>
                  </a:ext>
                </a:extLst>
              </p:cNvPr>
              <p:cNvSpPr/>
              <p:nvPr/>
            </p:nvSpPr>
            <p:spPr>
              <a:xfrm>
                <a:off x="3563260" y="2934231"/>
                <a:ext cx="237927" cy="387023"/>
              </a:xfrm>
              <a:custGeom>
                <a:avLst/>
                <a:gdLst>
                  <a:gd name="connsiteX0" fmla="*/ 76780 w 237927"/>
                  <a:gd name="connsiteY0" fmla="*/ 0 h 387023"/>
                  <a:gd name="connsiteX1" fmla="*/ 20332 w 237927"/>
                  <a:gd name="connsiteY1" fmla="*/ 255036 h 387023"/>
                  <a:gd name="connsiteX2" fmla="*/ 234437 w 237927"/>
                  <a:gd name="connsiteY2" fmla="*/ 387024 h 387023"/>
                  <a:gd name="connsiteX3" fmla="*/ 237928 w 237927"/>
                  <a:gd name="connsiteY3" fmla="*/ 10110 h 387023"/>
                  <a:gd name="connsiteX4" fmla="*/ 76801 w 237927"/>
                  <a:gd name="connsiteY4" fmla="*/ 0 h 3870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37927" h="387023">
                    <a:moveTo>
                      <a:pt x="76780" y="0"/>
                    </a:moveTo>
                    <a:cubicBezTo>
                      <a:pt x="76780" y="0"/>
                      <a:pt x="-47694" y="137926"/>
                      <a:pt x="20332" y="255036"/>
                    </a:cubicBezTo>
                    <a:cubicBezTo>
                      <a:pt x="88359" y="372146"/>
                      <a:pt x="234437" y="387024"/>
                      <a:pt x="234437" y="387024"/>
                    </a:cubicBezTo>
                    <a:lnTo>
                      <a:pt x="237928" y="10110"/>
                    </a:lnTo>
                    <a:lnTo>
                      <a:pt x="76801" y="0"/>
                    </a:lnTo>
                    <a:close/>
                  </a:path>
                </a:pathLst>
              </a:custGeom>
              <a:solidFill>
                <a:schemeClr val="bg2">
                  <a:lumMod val="10000"/>
                </a:schemeClr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1281" name="Freeform: Shape 1280">
                <a:extLst>
                  <a:ext uri="{FF2B5EF4-FFF2-40B4-BE49-F238E27FC236}">
                    <a16:creationId xmlns:a16="http://schemas.microsoft.com/office/drawing/2014/main" id="{A25FFB54-A063-3DD7-FCF6-044EF7E130D0}"/>
                  </a:ext>
                </a:extLst>
              </p:cNvPr>
              <p:cNvSpPr/>
              <p:nvPr/>
            </p:nvSpPr>
            <p:spPr>
              <a:xfrm>
                <a:off x="3595910" y="3110743"/>
                <a:ext cx="96150" cy="132681"/>
              </a:xfrm>
              <a:custGeom>
                <a:avLst/>
                <a:gdLst>
                  <a:gd name="connsiteX0" fmla="*/ 76461 w 96150"/>
                  <a:gd name="connsiteY0" fmla="*/ 42276 h 132681"/>
                  <a:gd name="connsiteX1" fmla="*/ 8243 w 96150"/>
                  <a:gd name="connsiteY1" fmla="*/ 9114 h 132681"/>
                  <a:gd name="connsiteX2" fmla="*/ 61817 w 96150"/>
                  <a:gd name="connsiteY2" fmla="*/ 131779 h 132681"/>
                  <a:gd name="connsiteX3" fmla="*/ 76461 w 96150"/>
                  <a:gd name="connsiteY3" fmla="*/ 42276 h 1326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6150" h="132681">
                    <a:moveTo>
                      <a:pt x="76461" y="42276"/>
                    </a:moveTo>
                    <a:cubicBezTo>
                      <a:pt x="76461" y="42276"/>
                      <a:pt x="28889" y="-23601"/>
                      <a:pt x="8243" y="9114"/>
                    </a:cubicBezTo>
                    <a:cubicBezTo>
                      <a:pt x="-12488" y="41957"/>
                      <a:pt x="6072" y="122052"/>
                      <a:pt x="61817" y="131779"/>
                    </a:cubicBezTo>
                    <a:cubicBezTo>
                      <a:pt x="124182" y="142677"/>
                      <a:pt x="84017" y="51492"/>
                      <a:pt x="76461" y="42276"/>
                    </a:cubicBezTo>
                    <a:close/>
                  </a:path>
                </a:pathLst>
              </a:custGeom>
              <a:solidFill>
                <a:srgbClr val="D19175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1282" name="Freeform: Shape 1281">
                <a:extLst>
                  <a:ext uri="{FF2B5EF4-FFF2-40B4-BE49-F238E27FC236}">
                    <a16:creationId xmlns:a16="http://schemas.microsoft.com/office/drawing/2014/main" id="{6A6AA0CC-789E-F567-3916-3F3675A93861}"/>
                  </a:ext>
                </a:extLst>
              </p:cNvPr>
              <p:cNvSpPr/>
              <p:nvPr/>
            </p:nvSpPr>
            <p:spPr>
              <a:xfrm>
                <a:off x="3651938" y="3142579"/>
                <a:ext cx="198694" cy="368643"/>
              </a:xfrm>
              <a:custGeom>
                <a:avLst/>
                <a:gdLst>
                  <a:gd name="connsiteX0" fmla="*/ 0 w 198694"/>
                  <a:gd name="connsiteY0" fmla="*/ 365195 h 368643"/>
                  <a:gd name="connsiteX1" fmla="*/ 198695 w 198694"/>
                  <a:gd name="connsiteY1" fmla="*/ 368644 h 368643"/>
                  <a:gd name="connsiteX2" fmla="*/ 189202 w 198694"/>
                  <a:gd name="connsiteY2" fmla="*/ 294721 h 368643"/>
                  <a:gd name="connsiteX3" fmla="*/ 168406 w 198694"/>
                  <a:gd name="connsiteY3" fmla="*/ 43410 h 368643"/>
                  <a:gd name="connsiteX4" fmla="*/ 122920 w 198694"/>
                  <a:gd name="connsiteY4" fmla="*/ 15974 h 368643"/>
                  <a:gd name="connsiteX5" fmla="*/ 75008 w 198694"/>
                  <a:gd name="connsiteY5" fmla="*/ 4118 h 368643"/>
                  <a:gd name="connsiteX6" fmla="*/ 0 w 198694"/>
                  <a:gd name="connsiteY6" fmla="*/ 365174 h 3686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98694" h="368643">
                    <a:moveTo>
                      <a:pt x="0" y="365195"/>
                    </a:moveTo>
                    <a:lnTo>
                      <a:pt x="198695" y="368644"/>
                    </a:lnTo>
                    <a:lnTo>
                      <a:pt x="189202" y="294721"/>
                    </a:lnTo>
                    <a:lnTo>
                      <a:pt x="168406" y="43410"/>
                    </a:lnTo>
                    <a:cubicBezTo>
                      <a:pt x="168406" y="43410"/>
                      <a:pt x="145887" y="28362"/>
                      <a:pt x="122920" y="15974"/>
                    </a:cubicBezTo>
                    <a:cubicBezTo>
                      <a:pt x="100337" y="3799"/>
                      <a:pt x="77349" y="-5801"/>
                      <a:pt x="75008" y="4118"/>
                    </a:cubicBezTo>
                    <a:lnTo>
                      <a:pt x="0" y="365174"/>
                    </a:lnTo>
                    <a:close/>
                  </a:path>
                </a:pathLst>
              </a:custGeom>
              <a:solidFill>
                <a:srgbClr val="D19175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1283" name="Freeform: Shape 1282">
                <a:extLst>
                  <a:ext uri="{FF2B5EF4-FFF2-40B4-BE49-F238E27FC236}">
                    <a16:creationId xmlns:a16="http://schemas.microsoft.com/office/drawing/2014/main" id="{A674A2F0-1E45-6DA0-96EC-E125357EFB75}"/>
                  </a:ext>
                </a:extLst>
              </p:cNvPr>
              <p:cNvSpPr/>
              <p:nvPr/>
            </p:nvSpPr>
            <p:spPr>
              <a:xfrm>
                <a:off x="3663063" y="3142376"/>
                <a:ext cx="177288" cy="281173"/>
              </a:xfrm>
              <a:custGeom>
                <a:avLst/>
                <a:gdLst>
                  <a:gd name="connsiteX0" fmla="*/ 1134 w 177288"/>
                  <a:gd name="connsiteY0" fmla="*/ 80223 h 281173"/>
                  <a:gd name="connsiteX1" fmla="*/ 177288 w 177288"/>
                  <a:gd name="connsiteY1" fmla="*/ 281174 h 281173"/>
                  <a:gd name="connsiteX2" fmla="*/ 154535 w 177288"/>
                  <a:gd name="connsiteY2" fmla="*/ 31033 h 281173"/>
                  <a:gd name="connsiteX3" fmla="*/ 71055 w 177288"/>
                  <a:gd name="connsiteY3" fmla="*/ 0 h 281173"/>
                  <a:gd name="connsiteX4" fmla="*/ 1134 w 177288"/>
                  <a:gd name="connsiteY4" fmla="*/ 80223 h 2811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7288" h="281173">
                    <a:moveTo>
                      <a:pt x="1134" y="80223"/>
                    </a:moveTo>
                    <a:cubicBezTo>
                      <a:pt x="-8572" y="160722"/>
                      <a:pt x="43491" y="256228"/>
                      <a:pt x="177288" y="281174"/>
                    </a:cubicBezTo>
                    <a:lnTo>
                      <a:pt x="154535" y="31033"/>
                    </a:lnTo>
                    <a:cubicBezTo>
                      <a:pt x="154535" y="31033"/>
                      <a:pt x="104217" y="13601"/>
                      <a:pt x="71055" y="0"/>
                    </a:cubicBezTo>
                    <a:cubicBezTo>
                      <a:pt x="27911" y="22754"/>
                      <a:pt x="6221" y="37994"/>
                      <a:pt x="1134" y="80223"/>
                    </a:cubicBezTo>
                    <a:close/>
                  </a:path>
                </a:pathLst>
              </a:custGeom>
              <a:solidFill>
                <a:srgbClr val="A35B47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1284" name="Freeform: Shape 1283">
                <a:extLst>
                  <a:ext uri="{FF2B5EF4-FFF2-40B4-BE49-F238E27FC236}">
                    <a16:creationId xmlns:a16="http://schemas.microsoft.com/office/drawing/2014/main" id="{81E6658C-C137-DF3E-06C8-A4B40635ED6F}"/>
                  </a:ext>
                </a:extLst>
              </p:cNvPr>
              <p:cNvSpPr/>
              <p:nvPr/>
            </p:nvSpPr>
            <p:spPr>
              <a:xfrm>
                <a:off x="3650496" y="2974726"/>
                <a:ext cx="281863" cy="408393"/>
              </a:xfrm>
              <a:custGeom>
                <a:avLst/>
                <a:gdLst>
                  <a:gd name="connsiteX0" fmla="*/ 281807 w 281863"/>
                  <a:gd name="connsiteY0" fmla="*/ 159583 h 408393"/>
                  <a:gd name="connsiteX1" fmla="*/ 278316 w 281863"/>
                  <a:gd name="connsiteY1" fmla="*/ 206793 h 408393"/>
                  <a:gd name="connsiteX2" fmla="*/ 277635 w 281863"/>
                  <a:gd name="connsiteY2" fmla="*/ 211008 h 408393"/>
                  <a:gd name="connsiteX3" fmla="*/ 276932 w 281863"/>
                  <a:gd name="connsiteY3" fmla="*/ 215414 h 408393"/>
                  <a:gd name="connsiteX4" fmla="*/ 269610 w 281863"/>
                  <a:gd name="connsiteY4" fmla="*/ 261730 h 408393"/>
                  <a:gd name="connsiteX5" fmla="*/ 268929 w 281863"/>
                  <a:gd name="connsiteY5" fmla="*/ 264518 h 408393"/>
                  <a:gd name="connsiteX6" fmla="*/ 265162 w 281863"/>
                  <a:gd name="connsiteY6" fmla="*/ 279141 h 408393"/>
                  <a:gd name="connsiteX7" fmla="*/ 264949 w 281863"/>
                  <a:gd name="connsiteY7" fmla="*/ 279886 h 408393"/>
                  <a:gd name="connsiteX8" fmla="*/ 188813 w 281863"/>
                  <a:gd name="connsiteY8" fmla="*/ 401231 h 408393"/>
                  <a:gd name="connsiteX9" fmla="*/ 39031 w 281863"/>
                  <a:gd name="connsiteY9" fmla="*/ 359491 h 408393"/>
                  <a:gd name="connsiteX10" fmla="*/ 7274 w 281863"/>
                  <a:gd name="connsiteY10" fmla="*/ 267562 h 408393"/>
                  <a:gd name="connsiteX11" fmla="*/ 16235 w 281863"/>
                  <a:gd name="connsiteY11" fmla="*/ 80787 h 408393"/>
                  <a:gd name="connsiteX12" fmla="*/ 281828 w 281863"/>
                  <a:gd name="connsiteY12" fmla="*/ 159583 h 4083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281863" h="408393">
                    <a:moveTo>
                      <a:pt x="281807" y="159583"/>
                    </a:moveTo>
                    <a:cubicBezTo>
                      <a:pt x="282211" y="178229"/>
                      <a:pt x="280402" y="191596"/>
                      <a:pt x="278316" y="206793"/>
                    </a:cubicBezTo>
                    <a:lnTo>
                      <a:pt x="277635" y="211008"/>
                    </a:lnTo>
                    <a:lnTo>
                      <a:pt x="276932" y="215414"/>
                    </a:lnTo>
                    <a:lnTo>
                      <a:pt x="269610" y="261730"/>
                    </a:lnTo>
                    <a:cubicBezTo>
                      <a:pt x="269355" y="262687"/>
                      <a:pt x="269163" y="263645"/>
                      <a:pt x="268929" y="264518"/>
                    </a:cubicBezTo>
                    <a:cubicBezTo>
                      <a:pt x="267652" y="269584"/>
                      <a:pt x="266418" y="274458"/>
                      <a:pt x="265162" y="279141"/>
                    </a:cubicBezTo>
                    <a:cubicBezTo>
                      <a:pt x="265098" y="279375"/>
                      <a:pt x="265013" y="279651"/>
                      <a:pt x="264949" y="279886"/>
                    </a:cubicBezTo>
                    <a:cubicBezTo>
                      <a:pt x="242877" y="361769"/>
                      <a:pt x="219591" y="387140"/>
                      <a:pt x="188813" y="401231"/>
                    </a:cubicBezTo>
                    <a:cubicBezTo>
                      <a:pt x="143348" y="422026"/>
                      <a:pt x="72874" y="394313"/>
                      <a:pt x="39031" y="359491"/>
                    </a:cubicBezTo>
                    <a:cubicBezTo>
                      <a:pt x="17789" y="337674"/>
                      <a:pt x="12786" y="297914"/>
                      <a:pt x="7274" y="267562"/>
                    </a:cubicBezTo>
                    <a:cubicBezTo>
                      <a:pt x="-1836" y="217606"/>
                      <a:pt x="-5795" y="153645"/>
                      <a:pt x="16235" y="80787"/>
                    </a:cubicBezTo>
                    <a:cubicBezTo>
                      <a:pt x="48247" y="-25127"/>
                      <a:pt x="277081" y="-52925"/>
                      <a:pt x="281828" y="159583"/>
                    </a:cubicBezTo>
                    <a:close/>
                  </a:path>
                </a:pathLst>
              </a:custGeom>
              <a:solidFill>
                <a:srgbClr val="D19175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1292" name="Freeform: Shape 1291">
                <a:extLst>
                  <a:ext uri="{FF2B5EF4-FFF2-40B4-BE49-F238E27FC236}">
                    <a16:creationId xmlns:a16="http://schemas.microsoft.com/office/drawing/2014/main" id="{4EC609F1-7889-C5C1-53CE-63AF1EB8ACDE}"/>
                  </a:ext>
                </a:extLst>
              </p:cNvPr>
              <p:cNvSpPr/>
              <p:nvPr/>
            </p:nvSpPr>
            <p:spPr>
              <a:xfrm>
                <a:off x="3583904" y="2937530"/>
                <a:ext cx="276775" cy="209281"/>
              </a:xfrm>
              <a:custGeom>
                <a:avLst/>
                <a:gdLst>
                  <a:gd name="connsiteX0" fmla="*/ 126568 w 276775"/>
                  <a:gd name="connsiteY0" fmla="*/ 7279 h 209281"/>
                  <a:gd name="connsiteX1" fmla="*/ 128781 w 276775"/>
                  <a:gd name="connsiteY1" fmla="*/ 2405 h 209281"/>
                  <a:gd name="connsiteX2" fmla="*/ 17908 w 276775"/>
                  <a:gd name="connsiteY2" fmla="*/ 64344 h 209281"/>
                  <a:gd name="connsiteX3" fmla="*/ 50 w 276775"/>
                  <a:gd name="connsiteY3" fmla="*/ 124900 h 209281"/>
                  <a:gd name="connsiteX4" fmla="*/ 75484 w 276775"/>
                  <a:gd name="connsiteY4" fmla="*/ 208656 h 209281"/>
                  <a:gd name="connsiteX5" fmla="*/ 276775 w 276775"/>
                  <a:gd name="connsiteY5" fmla="*/ 0 h 209281"/>
                  <a:gd name="connsiteX6" fmla="*/ 126546 w 276775"/>
                  <a:gd name="connsiteY6" fmla="*/ 7279 h 2092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76775" h="209281">
                    <a:moveTo>
                      <a:pt x="126568" y="7279"/>
                    </a:moveTo>
                    <a:lnTo>
                      <a:pt x="128781" y="2405"/>
                    </a:lnTo>
                    <a:lnTo>
                      <a:pt x="17908" y="64344"/>
                    </a:lnTo>
                    <a:cubicBezTo>
                      <a:pt x="17908" y="64344"/>
                      <a:pt x="-1099" y="82820"/>
                      <a:pt x="50" y="124900"/>
                    </a:cubicBezTo>
                    <a:cubicBezTo>
                      <a:pt x="412" y="138224"/>
                      <a:pt x="32531" y="217064"/>
                      <a:pt x="75484" y="208656"/>
                    </a:cubicBezTo>
                    <a:cubicBezTo>
                      <a:pt x="206279" y="183008"/>
                      <a:pt x="276775" y="0"/>
                      <a:pt x="276775" y="0"/>
                    </a:cubicBezTo>
                    <a:lnTo>
                      <a:pt x="126546" y="7279"/>
                    </a:lnTo>
                    <a:close/>
                  </a:path>
                </a:pathLst>
              </a:custGeom>
              <a:solidFill>
                <a:schemeClr val="bg2">
                  <a:lumMod val="10000"/>
                </a:schemeClr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grpSp>
            <p:nvGrpSpPr>
              <p:cNvPr id="1295" name="Graphic 1191">
                <a:extLst>
                  <a:ext uri="{FF2B5EF4-FFF2-40B4-BE49-F238E27FC236}">
                    <a16:creationId xmlns:a16="http://schemas.microsoft.com/office/drawing/2014/main" id="{8569EBB4-DCA7-4A6B-EF45-38D6AE092EA5}"/>
                  </a:ext>
                </a:extLst>
              </p:cNvPr>
              <p:cNvGrpSpPr/>
              <p:nvPr/>
            </p:nvGrpSpPr>
            <p:grpSpPr>
              <a:xfrm>
                <a:off x="3776303" y="4481900"/>
                <a:ext cx="267180" cy="311736"/>
                <a:chOff x="3776303" y="4481900"/>
                <a:chExt cx="267180" cy="311736"/>
              </a:xfrm>
              <a:solidFill>
                <a:srgbClr val="FFB4B2"/>
              </a:solidFill>
            </p:grpSpPr>
            <p:sp>
              <p:nvSpPr>
                <p:cNvPr id="1296" name="Freeform: Shape 1295">
                  <a:extLst>
                    <a:ext uri="{FF2B5EF4-FFF2-40B4-BE49-F238E27FC236}">
                      <a16:creationId xmlns:a16="http://schemas.microsoft.com/office/drawing/2014/main" id="{DFBB7626-BDF2-4DF3-6D4C-DAF6ECEB519C}"/>
                    </a:ext>
                  </a:extLst>
                </p:cNvPr>
                <p:cNvSpPr/>
                <p:nvPr/>
              </p:nvSpPr>
              <p:spPr>
                <a:xfrm rot="-3106199">
                  <a:off x="3820239" y="4479658"/>
                  <a:ext cx="63535" cy="142694"/>
                </a:xfrm>
                <a:custGeom>
                  <a:avLst/>
                  <a:gdLst>
                    <a:gd name="connsiteX0" fmla="*/ 0 w 63535"/>
                    <a:gd name="connsiteY0" fmla="*/ 0 h 142694"/>
                    <a:gd name="connsiteX1" fmla="*/ 63536 w 63535"/>
                    <a:gd name="connsiteY1" fmla="*/ 0 h 142694"/>
                    <a:gd name="connsiteX2" fmla="*/ 63536 w 63535"/>
                    <a:gd name="connsiteY2" fmla="*/ 142694 h 142694"/>
                    <a:gd name="connsiteX3" fmla="*/ 0 w 63535"/>
                    <a:gd name="connsiteY3" fmla="*/ 142694 h 14269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63535" h="142694">
                      <a:moveTo>
                        <a:pt x="0" y="0"/>
                      </a:moveTo>
                      <a:lnTo>
                        <a:pt x="63536" y="0"/>
                      </a:lnTo>
                      <a:lnTo>
                        <a:pt x="63536" y="142694"/>
                      </a:lnTo>
                      <a:lnTo>
                        <a:pt x="0" y="142694"/>
                      </a:lnTo>
                      <a:close/>
                    </a:path>
                  </a:pathLst>
                </a:custGeom>
                <a:solidFill>
                  <a:srgbClr val="D19175"/>
                </a:solidFill>
                <a:ln w="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GB"/>
                </a:p>
              </p:txBody>
            </p:sp>
            <p:grpSp>
              <p:nvGrpSpPr>
                <p:cNvPr id="1297" name="Graphic 1191">
                  <a:extLst>
                    <a:ext uri="{FF2B5EF4-FFF2-40B4-BE49-F238E27FC236}">
                      <a16:creationId xmlns:a16="http://schemas.microsoft.com/office/drawing/2014/main" id="{7F186AA0-3BBB-C8B6-4D59-7761D4E0515C}"/>
                    </a:ext>
                  </a:extLst>
                </p:cNvPr>
                <p:cNvGrpSpPr/>
                <p:nvPr/>
              </p:nvGrpSpPr>
              <p:grpSpPr>
                <a:xfrm>
                  <a:off x="3835295" y="4535202"/>
                  <a:ext cx="208188" cy="258434"/>
                  <a:chOff x="3835295" y="4535202"/>
                  <a:chExt cx="208188" cy="258434"/>
                </a:xfrm>
                <a:solidFill>
                  <a:srgbClr val="FFB4B2"/>
                </a:solidFill>
              </p:grpSpPr>
              <p:sp>
                <p:nvSpPr>
                  <p:cNvPr id="1298" name="Freeform: Shape 1297">
                    <a:extLst>
                      <a:ext uri="{FF2B5EF4-FFF2-40B4-BE49-F238E27FC236}">
                        <a16:creationId xmlns:a16="http://schemas.microsoft.com/office/drawing/2014/main" id="{E349B4AF-4FBF-C905-9E72-D6B402472F04}"/>
                      </a:ext>
                    </a:extLst>
                  </p:cNvPr>
                  <p:cNvSpPr/>
                  <p:nvPr/>
                </p:nvSpPr>
                <p:spPr>
                  <a:xfrm>
                    <a:off x="3835295" y="4535202"/>
                    <a:ext cx="208188" cy="258434"/>
                  </a:xfrm>
                  <a:custGeom>
                    <a:avLst/>
                    <a:gdLst>
                      <a:gd name="connsiteX0" fmla="*/ 17317 w 208188"/>
                      <a:gd name="connsiteY0" fmla="*/ 1571 h 258434"/>
                      <a:gd name="connsiteX1" fmla="*/ 151476 w 208188"/>
                      <a:gd name="connsiteY1" fmla="*/ 87711 h 258434"/>
                      <a:gd name="connsiteX2" fmla="*/ 206901 w 208188"/>
                      <a:gd name="connsiteY2" fmla="*/ 226212 h 258434"/>
                      <a:gd name="connsiteX3" fmla="*/ 168355 w 208188"/>
                      <a:gd name="connsiteY3" fmla="*/ 168295 h 258434"/>
                      <a:gd name="connsiteX4" fmla="*/ 169227 w 208188"/>
                      <a:gd name="connsiteY4" fmla="*/ 175000 h 258434"/>
                      <a:gd name="connsiteX5" fmla="*/ 176124 w 208188"/>
                      <a:gd name="connsiteY5" fmla="*/ 250136 h 258434"/>
                      <a:gd name="connsiteX6" fmla="*/ 165119 w 208188"/>
                      <a:gd name="connsiteY6" fmla="*/ 245411 h 258434"/>
                      <a:gd name="connsiteX7" fmla="*/ 154179 w 208188"/>
                      <a:gd name="connsiteY7" fmla="*/ 257884 h 258434"/>
                      <a:gd name="connsiteX8" fmla="*/ 125295 w 208188"/>
                      <a:gd name="connsiteY8" fmla="*/ 230681 h 258434"/>
                      <a:gd name="connsiteX9" fmla="*/ 30428 w 208188"/>
                      <a:gd name="connsiteY9" fmla="*/ 101120 h 258434"/>
                      <a:gd name="connsiteX10" fmla="*/ 17317 w 208188"/>
                      <a:gd name="connsiteY10" fmla="*/ 1549 h 25843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</a:cxnLst>
                    <a:rect l="l" t="t" r="r" b="b"/>
                    <a:pathLst>
                      <a:path w="208188" h="258434">
                        <a:moveTo>
                          <a:pt x="17317" y="1571"/>
                        </a:moveTo>
                        <a:cubicBezTo>
                          <a:pt x="22085" y="3401"/>
                          <a:pt x="113440" y="45141"/>
                          <a:pt x="151476" y="87711"/>
                        </a:cubicBezTo>
                        <a:cubicBezTo>
                          <a:pt x="183403" y="123448"/>
                          <a:pt x="215011" y="218315"/>
                          <a:pt x="206901" y="226212"/>
                        </a:cubicBezTo>
                        <a:cubicBezTo>
                          <a:pt x="193088" y="239685"/>
                          <a:pt x="179614" y="181301"/>
                          <a:pt x="168355" y="168295"/>
                        </a:cubicBezTo>
                        <a:cubicBezTo>
                          <a:pt x="157286" y="155503"/>
                          <a:pt x="164417" y="164847"/>
                          <a:pt x="169227" y="175000"/>
                        </a:cubicBezTo>
                        <a:cubicBezTo>
                          <a:pt x="192364" y="223892"/>
                          <a:pt x="181700" y="250136"/>
                          <a:pt x="176124" y="250136"/>
                        </a:cubicBezTo>
                        <a:cubicBezTo>
                          <a:pt x="170547" y="250136"/>
                          <a:pt x="165119" y="245411"/>
                          <a:pt x="165119" y="245411"/>
                        </a:cubicBezTo>
                        <a:cubicBezTo>
                          <a:pt x="165119" y="245411"/>
                          <a:pt x="160160" y="261587"/>
                          <a:pt x="154179" y="257884"/>
                        </a:cubicBezTo>
                        <a:cubicBezTo>
                          <a:pt x="135065" y="246007"/>
                          <a:pt x="131915" y="202734"/>
                          <a:pt x="125295" y="230681"/>
                        </a:cubicBezTo>
                        <a:cubicBezTo>
                          <a:pt x="121038" y="248689"/>
                          <a:pt x="56119" y="144350"/>
                          <a:pt x="30428" y="101120"/>
                        </a:cubicBezTo>
                        <a:cubicBezTo>
                          <a:pt x="4759" y="57891"/>
                          <a:pt x="-16122" y="-11222"/>
                          <a:pt x="17317" y="1549"/>
                        </a:cubicBezTo>
                        <a:close/>
                      </a:path>
                    </a:pathLst>
                  </a:custGeom>
                  <a:solidFill>
                    <a:srgbClr val="D19175"/>
                  </a:solidFill>
                  <a:ln w="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GB"/>
                  </a:p>
                </p:txBody>
              </p:sp>
              <p:sp>
                <p:nvSpPr>
                  <p:cNvPr id="1299" name="Freeform: Shape 1298">
                    <a:extLst>
                      <a:ext uri="{FF2B5EF4-FFF2-40B4-BE49-F238E27FC236}">
                        <a16:creationId xmlns:a16="http://schemas.microsoft.com/office/drawing/2014/main" id="{681FEA57-F2F7-4B0A-97D6-77027C5F17E0}"/>
                      </a:ext>
                    </a:extLst>
                  </p:cNvPr>
                  <p:cNvSpPr/>
                  <p:nvPr/>
                </p:nvSpPr>
                <p:spPr>
                  <a:xfrm>
                    <a:off x="3845375" y="4535887"/>
                    <a:ext cx="185849" cy="110529"/>
                  </a:xfrm>
                  <a:custGeom>
                    <a:avLst/>
                    <a:gdLst>
                      <a:gd name="connsiteX0" fmla="*/ 21 w 185849"/>
                      <a:gd name="connsiteY0" fmla="*/ 4014 h 110529"/>
                      <a:gd name="connsiteX1" fmla="*/ 130860 w 185849"/>
                      <a:gd name="connsiteY1" fmla="*/ 44455 h 110529"/>
                      <a:gd name="connsiteX2" fmla="*/ 181560 w 185849"/>
                      <a:gd name="connsiteY2" fmla="*/ 96199 h 110529"/>
                      <a:gd name="connsiteX3" fmla="*/ 167853 w 185849"/>
                      <a:gd name="connsiteY3" fmla="*/ 106650 h 110529"/>
                      <a:gd name="connsiteX4" fmla="*/ 124602 w 185849"/>
                      <a:gd name="connsiteY4" fmla="*/ 78000 h 110529"/>
                      <a:gd name="connsiteX5" fmla="*/ 54000 w 185849"/>
                      <a:gd name="connsiteY5" fmla="*/ 51075 h 110529"/>
                      <a:gd name="connsiteX6" fmla="*/ 0 w 185849"/>
                      <a:gd name="connsiteY6" fmla="*/ 4014 h 11052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185849" h="110529">
                        <a:moveTo>
                          <a:pt x="21" y="4014"/>
                        </a:moveTo>
                        <a:cubicBezTo>
                          <a:pt x="21" y="4014"/>
                          <a:pt x="44379" y="-18825"/>
                          <a:pt x="130860" y="44455"/>
                        </a:cubicBezTo>
                        <a:cubicBezTo>
                          <a:pt x="145227" y="54970"/>
                          <a:pt x="176154" y="89962"/>
                          <a:pt x="181560" y="96199"/>
                        </a:cubicBezTo>
                        <a:cubicBezTo>
                          <a:pt x="192884" y="109268"/>
                          <a:pt x="179496" y="114930"/>
                          <a:pt x="167853" y="106650"/>
                        </a:cubicBezTo>
                        <a:cubicBezTo>
                          <a:pt x="164000" y="103904"/>
                          <a:pt x="129136" y="81214"/>
                          <a:pt x="124602" y="78000"/>
                        </a:cubicBezTo>
                        <a:cubicBezTo>
                          <a:pt x="111639" y="68826"/>
                          <a:pt x="61088" y="48904"/>
                          <a:pt x="54000" y="51075"/>
                        </a:cubicBezTo>
                        <a:cubicBezTo>
                          <a:pt x="46912" y="53225"/>
                          <a:pt x="0" y="4014"/>
                          <a:pt x="0" y="4014"/>
                        </a:cubicBezTo>
                        <a:close/>
                      </a:path>
                    </a:pathLst>
                  </a:custGeom>
                  <a:solidFill>
                    <a:srgbClr val="D19175"/>
                  </a:solidFill>
                  <a:ln w="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GB"/>
                  </a:p>
                </p:txBody>
              </p:sp>
            </p:grpSp>
          </p:grpSp>
          <p:sp>
            <p:nvSpPr>
              <p:cNvPr id="1300" name="Freeform: Shape 1299">
                <a:extLst>
                  <a:ext uri="{FF2B5EF4-FFF2-40B4-BE49-F238E27FC236}">
                    <a16:creationId xmlns:a16="http://schemas.microsoft.com/office/drawing/2014/main" id="{D0B2B132-699E-7266-E25A-8C9D001D0EEC}"/>
                  </a:ext>
                </a:extLst>
              </p:cNvPr>
              <p:cNvSpPr/>
              <p:nvPr/>
            </p:nvSpPr>
            <p:spPr>
              <a:xfrm>
                <a:off x="3395505" y="3537271"/>
                <a:ext cx="488864" cy="1045966"/>
              </a:xfrm>
              <a:custGeom>
                <a:avLst/>
                <a:gdLst>
                  <a:gd name="connsiteX0" fmla="*/ 144198 w 488864"/>
                  <a:gd name="connsiteY0" fmla="*/ 536 h 1045966"/>
                  <a:gd name="connsiteX1" fmla="*/ 9869 w 488864"/>
                  <a:gd name="connsiteY1" fmla="*/ 157428 h 1045966"/>
                  <a:gd name="connsiteX2" fmla="*/ 47628 w 488864"/>
                  <a:gd name="connsiteY2" fmla="*/ 596195 h 1045966"/>
                  <a:gd name="connsiteX3" fmla="*/ 427245 w 488864"/>
                  <a:gd name="connsiteY3" fmla="*/ 1045966 h 1045966"/>
                  <a:gd name="connsiteX4" fmla="*/ 488864 w 488864"/>
                  <a:gd name="connsiteY4" fmla="*/ 985262 h 1045966"/>
                  <a:gd name="connsiteX5" fmla="*/ 225272 w 488864"/>
                  <a:gd name="connsiteY5" fmla="*/ 533553 h 1045966"/>
                  <a:gd name="connsiteX6" fmla="*/ 144176 w 488864"/>
                  <a:gd name="connsiteY6" fmla="*/ 515 h 10459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88864" h="1045966">
                    <a:moveTo>
                      <a:pt x="144198" y="536"/>
                    </a:moveTo>
                    <a:cubicBezTo>
                      <a:pt x="81663" y="10796"/>
                      <a:pt x="26343" y="84058"/>
                      <a:pt x="9869" y="157428"/>
                    </a:cubicBezTo>
                    <a:cubicBezTo>
                      <a:pt x="-11736" y="253635"/>
                      <a:pt x="2696" y="472295"/>
                      <a:pt x="47628" y="596195"/>
                    </a:cubicBezTo>
                    <a:cubicBezTo>
                      <a:pt x="93646" y="723074"/>
                      <a:pt x="427245" y="1045966"/>
                      <a:pt x="427245" y="1045966"/>
                    </a:cubicBezTo>
                    <a:lnTo>
                      <a:pt x="488864" y="985262"/>
                    </a:lnTo>
                    <a:cubicBezTo>
                      <a:pt x="488864" y="985262"/>
                      <a:pt x="229359" y="562160"/>
                      <a:pt x="225272" y="533553"/>
                    </a:cubicBezTo>
                    <a:cubicBezTo>
                      <a:pt x="225080" y="532148"/>
                      <a:pt x="242279" y="-19174"/>
                      <a:pt x="144176" y="515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1301" name="Freeform: Shape 1300">
                <a:extLst>
                  <a:ext uri="{FF2B5EF4-FFF2-40B4-BE49-F238E27FC236}">
                    <a16:creationId xmlns:a16="http://schemas.microsoft.com/office/drawing/2014/main" id="{D545B6FA-9005-B9D0-A95F-CE3DB6A5D685}"/>
                  </a:ext>
                </a:extLst>
              </p:cNvPr>
              <p:cNvSpPr/>
              <p:nvPr/>
            </p:nvSpPr>
            <p:spPr>
              <a:xfrm>
                <a:off x="3646680" y="3491130"/>
                <a:ext cx="214871" cy="94015"/>
              </a:xfrm>
              <a:custGeom>
                <a:avLst/>
                <a:gdLst>
                  <a:gd name="connsiteX0" fmla="*/ 0 w 214871"/>
                  <a:gd name="connsiteY0" fmla="*/ 0 h 94015"/>
                  <a:gd name="connsiteX1" fmla="*/ 106084 w 214871"/>
                  <a:gd name="connsiteY1" fmla="*/ 28203 h 94015"/>
                  <a:gd name="connsiteX2" fmla="*/ 146376 w 214871"/>
                  <a:gd name="connsiteY2" fmla="*/ 78563 h 94015"/>
                  <a:gd name="connsiteX3" fmla="*/ 173238 w 214871"/>
                  <a:gd name="connsiteY3" fmla="*/ 26862 h 94015"/>
                  <a:gd name="connsiteX4" fmla="*/ 203228 w 214871"/>
                  <a:gd name="connsiteY4" fmla="*/ 7173 h 94015"/>
                  <a:gd name="connsiteX5" fmla="*/ 214871 w 214871"/>
                  <a:gd name="connsiteY5" fmla="*/ 91334 h 94015"/>
                  <a:gd name="connsiteX6" fmla="*/ 115492 w 214871"/>
                  <a:gd name="connsiteY6" fmla="*/ 94015 h 94015"/>
                  <a:gd name="connsiteX7" fmla="*/ 37589 w 214871"/>
                  <a:gd name="connsiteY7" fmla="*/ 94015 h 94015"/>
                  <a:gd name="connsiteX8" fmla="*/ 0 w 214871"/>
                  <a:gd name="connsiteY8" fmla="*/ 0 h 940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14871" h="94015">
                    <a:moveTo>
                      <a:pt x="0" y="0"/>
                    </a:moveTo>
                    <a:lnTo>
                      <a:pt x="106084" y="28203"/>
                    </a:lnTo>
                    <a:lnTo>
                      <a:pt x="146376" y="78563"/>
                    </a:lnTo>
                    <a:lnTo>
                      <a:pt x="173238" y="26862"/>
                    </a:lnTo>
                    <a:lnTo>
                      <a:pt x="203228" y="7173"/>
                    </a:lnTo>
                    <a:lnTo>
                      <a:pt x="214871" y="91334"/>
                    </a:lnTo>
                    <a:lnTo>
                      <a:pt x="115492" y="94015"/>
                    </a:lnTo>
                    <a:lnTo>
                      <a:pt x="37589" y="94015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bg1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</p:grpSp>
        <p:grpSp>
          <p:nvGrpSpPr>
            <p:cNvPr id="1303" name="Graphic 1191">
              <a:extLst>
                <a:ext uri="{FF2B5EF4-FFF2-40B4-BE49-F238E27FC236}">
                  <a16:creationId xmlns:a16="http://schemas.microsoft.com/office/drawing/2014/main" id="{BD7905C7-C711-68A5-B82D-C84A811D9E3B}"/>
                </a:ext>
              </a:extLst>
            </p:cNvPr>
            <p:cNvGrpSpPr/>
            <p:nvPr/>
          </p:nvGrpSpPr>
          <p:grpSpPr>
            <a:xfrm>
              <a:off x="3372564" y="1650056"/>
              <a:ext cx="199335" cy="862154"/>
              <a:chOff x="0" y="3009190"/>
              <a:chExt cx="864429" cy="3738787"/>
            </a:xfrm>
          </p:grpSpPr>
          <p:sp>
            <p:nvSpPr>
              <p:cNvPr id="1304" name="Freeform: Shape 1303">
                <a:extLst>
                  <a:ext uri="{FF2B5EF4-FFF2-40B4-BE49-F238E27FC236}">
                    <a16:creationId xmlns:a16="http://schemas.microsoft.com/office/drawing/2014/main" id="{38D83930-1DD1-20DA-CA02-B3045F919D78}"/>
                  </a:ext>
                </a:extLst>
              </p:cNvPr>
              <p:cNvSpPr/>
              <p:nvPr/>
            </p:nvSpPr>
            <p:spPr>
              <a:xfrm>
                <a:off x="66259" y="3745208"/>
                <a:ext cx="109872" cy="1109667"/>
              </a:xfrm>
              <a:custGeom>
                <a:avLst/>
                <a:gdLst>
                  <a:gd name="connsiteX0" fmla="*/ 0 w 109872"/>
                  <a:gd name="connsiteY0" fmla="*/ 1109668 h 1109667"/>
                  <a:gd name="connsiteX1" fmla="*/ 109873 w 109872"/>
                  <a:gd name="connsiteY1" fmla="*/ 0 h 11096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09872" h="1109667">
                    <a:moveTo>
                      <a:pt x="0" y="1109668"/>
                    </a:moveTo>
                    <a:lnTo>
                      <a:pt x="109873" y="0"/>
                    </a:lnTo>
                  </a:path>
                </a:pathLst>
              </a:custGeom>
              <a:ln w="7279" cap="flat">
                <a:solidFill>
                  <a:srgbClr val="132B4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grpSp>
            <p:nvGrpSpPr>
              <p:cNvPr id="1305" name="Graphic 1191">
                <a:extLst>
                  <a:ext uri="{FF2B5EF4-FFF2-40B4-BE49-F238E27FC236}">
                    <a16:creationId xmlns:a16="http://schemas.microsoft.com/office/drawing/2014/main" id="{83921F86-7CF1-5B69-B591-71FFAE2E700D}"/>
                  </a:ext>
                </a:extLst>
              </p:cNvPr>
              <p:cNvGrpSpPr/>
              <p:nvPr/>
            </p:nvGrpSpPr>
            <p:grpSpPr>
              <a:xfrm>
                <a:off x="706148" y="4704562"/>
                <a:ext cx="158281" cy="353355"/>
                <a:chOff x="706148" y="4704562"/>
                <a:chExt cx="158281" cy="353355"/>
              </a:xfrm>
              <a:solidFill>
                <a:srgbClr val="BC7764"/>
              </a:solidFill>
            </p:grpSpPr>
            <p:sp>
              <p:nvSpPr>
                <p:cNvPr id="1306" name="Freeform: Shape 1305">
                  <a:extLst>
                    <a:ext uri="{FF2B5EF4-FFF2-40B4-BE49-F238E27FC236}">
                      <a16:creationId xmlns:a16="http://schemas.microsoft.com/office/drawing/2014/main" id="{BCF86320-B9EE-452D-9292-A4F6CC18DB36}"/>
                    </a:ext>
                  </a:extLst>
                </p:cNvPr>
                <p:cNvSpPr/>
                <p:nvPr/>
              </p:nvSpPr>
              <p:spPr>
                <a:xfrm>
                  <a:off x="706148" y="4704562"/>
                  <a:ext cx="105594" cy="152697"/>
                </a:xfrm>
                <a:custGeom>
                  <a:avLst/>
                  <a:gdLst>
                    <a:gd name="connsiteX0" fmla="*/ 105594 w 105594"/>
                    <a:gd name="connsiteY0" fmla="*/ 129774 h 152697"/>
                    <a:gd name="connsiteX1" fmla="*/ 50445 w 105594"/>
                    <a:gd name="connsiteY1" fmla="*/ 152698 h 152697"/>
                    <a:gd name="connsiteX2" fmla="*/ 0 w 105594"/>
                    <a:gd name="connsiteY2" fmla="*/ 22924 h 152697"/>
                    <a:gd name="connsiteX3" fmla="*/ 55149 w 105594"/>
                    <a:gd name="connsiteY3" fmla="*/ 0 h 152697"/>
                    <a:gd name="connsiteX4" fmla="*/ 105594 w 105594"/>
                    <a:gd name="connsiteY4" fmla="*/ 129774 h 15269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05594" h="152697">
                      <a:moveTo>
                        <a:pt x="105594" y="129774"/>
                      </a:moveTo>
                      <a:lnTo>
                        <a:pt x="50445" y="152698"/>
                      </a:lnTo>
                      <a:lnTo>
                        <a:pt x="0" y="22924"/>
                      </a:lnTo>
                      <a:lnTo>
                        <a:pt x="55149" y="0"/>
                      </a:lnTo>
                      <a:lnTo>
                        <a:pt x="105594" y="129774"/>
                      </a:lnTo>
                      <a:close/>
                    </a:path>
                  </a:pathLst>
                </a:custGeom>
                <a:solidFill>
                  <a:srgbClr val="A35B47"/>
                </a:solidFill>
                <a:ln w="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GB"/>
                </a:p>
              </p:txBody>
            </p:sp>
            <p:grpSp>
              <p:nvGrpSpPr>
                <p:cNvPr id="1307" name="Graphic 1191">
                  <a:extLst>
                    <a:ext uri="{FF2B5EF4-FFF2-40B4-BE49-F238E27FC236}">
                      <a16:creationId xmlns:a16="http://schemas.microsoft.com/office/drawing/2014/main" id="{C140605C-B333-F384-76E9-C5B924A12C07}"/>
                    </a:ext>
                  </a:extLst>
                </p:cNvPr>
                <p:cNvGrpSpPr/>
                <p:nvPr/>
              </p:nvGrpSpPr>
              <p:grpSpPr>
                <a:xfrm>
                  <a:off x="730545" y="4763094"/>
                  <a:ext cx="133884" cy="294823"/>
                  <a:chOff x="730545" y="4763094"/>
                  <a:chExt cx="133884" cy="294823"/>
                </a:xfrm>
                <a:solidFill>
                  <a:srgbClr val="BC7764"/>
                </a:solidFill>
              </p:grpSpPr>
              <p:sp>
                <p:nvSpPr>
                  <p:cNvPr id="1308" name="Freeform: Shape 1307">
                    <a:extLst>
                      <a:ext uri="{FF2B5EF4-FFF2-40B4-BE49-F238E27FC236}">
                        <a16:creationId xmlns:a16="http://schemas.microsoft.com/office/drawing/2014/main" id="{5CA77A06-B6C9-9E85-235B-AFDF5F80E45C}"/>
                      </a:ext>
                    </a:extLst>
                  </p:cNvPr>
                  <p:cNvSpPr/>
                  <p:nvPr/>
                </p:nvSpPr>
                <p:spPr>
                  <a:xfrm>
                    <a:off x="730545" y="4763094"/>
                    <a:ext cx="107557" cy="294823"/>
                  </a:xfrm>
                  <a:custGeom>
                    <a:avLst/>
                    <a:gdLst>
                      <a:gd name="connsiteX0" fmla="*/ 35477 w 107557"/>
                      <a:gd name="connsiteY0" fmla="*/ 6174 h 294823"/>
                      <a:gd name="connsiteX1" fmla="*/ 104909 w 107557"/>
                      <a:gd name="connsiteY1" fmla="*/ 144951 h 294823"/>
                      <a:gd name="connsiteX2" fmla="*/ 85923 w 107557"/>
                      <a:gd name="connsiteY2" fmla="*/ 289412 h 294823"/>
                      <a:gd name="connsiteX3" fmla="*/ 81325 w 107557"/>
                      <a:gd name="connsiteY3" fmla="*/ 221470 h 294823"/>
                      <a:gd name="connsiteX4" fmla="*/ 78920 w 107557"/>
                      <a:gd name="connsiteY4" fmla="*/ 227558 h 294823"/>
                      <a:gd name="connsiteX5" fmla="*/ 49717 w 107557"/>
                      <a:gd name="connsiteY5" fmla="*/ 294542 h 294823"/>
                      <a:gd name="connsiteX6" fmla="*/ 42948 w 107557"/>
                      <a:gd name="connsiteY6" fmla="*/ 285134 h 294823"/>
                      <a:gd name="connsiteX7" fmla="*/ 28262 w 107557"/>
                      <a:gd name="connsiteY7" fmla="*/ 290327 h 294823"/>
                      <a:gd name="connsiteX8" fmla="*/ 17321 w 107557"/>
                      <a:gd name="connsiteY8" fmla="*/ 253121 h 294823"/>
                      <a:gd name="connsiteX9" fmla="*/ 38 w 107557"/>
                      <a:gd name="connsiteY9" fmla="*/ 96890 h 294823"/>
                      <a:gd name="connsiteX10" fmla="*/ 35477 w 107557"/>
                      <a:gd name="connsiteY10" fmla="*/ 6174 h 29482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</a:cxnLst>
                    <a:rect l="l" t="t" r="r" b="b"/>
                    <a:pathLst>
                      <a:path w="107557" h="294823">
                        <a:moveTo>
                          <a:pt x="35477" y="6174"/>
                        </a:moveTo>
                        <a:cubicBezTo>
                          <a:pt x="38521" y="10069"/>
                          <a:pt x="93649" y="90249"/>
                          <a:pt x="104909" y="144951"/>
                        </a:cubicBezTo>
                        <a:cubicBezTo>
                          <a:pt x="114380" y="190863"/>
                          <a:pt x="96182" y="286688"/>
                          <a:pt x="85923" y="289412"/>
                        </a:cubicBezTo>
                        <a:cubicBezTo>
                          <a:pt x="68426" y="294031"/>
                          <a:pt x="84475" y="237988"/>
                          <a:pt x="81325" y="221470"/>
                        </a:cubicBezTo>
                        <a:cubicBezTo>
                          <a:pt x="78217" y="205209"/>
                          <a:pt x="79707" y="216618"/>
                          <a:pt x="78920" y="227558"/>
                        </a:cubicBezTo>
                        <a:cubicBezTo>
                          <a:pt x="75131" y="280302"/>
                          <a:pt x="54272" y="297287"/>
                          <a:pt x="49717" y="294542"/>
                        </a:cubicBezTo>
                        <a:cubicBezTo>
                          <a:pt x="45183" y="291796"/>
                          <a:pt x="42948" y="285134"/>
                          <a:pt x="42948" y="285134"/>
                        </a:cubicBezTo>
                        <a:cubicBezTo>
                          <a:pt x="42948" y="285134"/>
                          <a:pt x="31412" y="296394"/>
                          <a:pt x="28262" y="290327"/>
                        </a:cubicBezTo>
                        <a:cubicBezTo>
                          <a:pt x="18194" y="270894"/>
                          <a:pt x="35648" y="232709"/>
                          <a:pt x="17321" y="253121"/>
                        </a:cubicBezTo>
                        <a:cubicBezTo>
                          <a:pt x="5508" y="266275"/>
                          <a:pt x="932" y="146079"/>
                          <a:pt x="38" y="96890"/>
                        </a:cubicBezTo>
                        <a:cubicBezTo>
                          <a:pt x="-856" y="47679"/>
                          <a:pt x="14150" y="-21050"/>
                          <a:pt x="35477" y="6174"/>
                        </a:cubicBezTo>
                        <a:close/>
                      </a:path>
                    </a:pathLst>
                  </a:custGeom>
                  <a:solidFill>
                    <a:srgbClr val="A35B47"/>
                  </a:solidFill>
                  <a:ln w="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GB"/>
                  </a:p>
                </p:txBody>
              </p:sp>
              <p:sp>
                <p:nvSpPr>
                  <p:cNvPr id="1309" name="Freeform: Shape 1308">
                    <a:extLst>
                      <a:ext uri="{FF2B5EF4-FFF2-40B4-BE49-F238E27FC236}">
                        <a16:creationId xmlns:a16="http://schemas.microsoft.com/office/drawing/2014/main" id="{52139F07-682F-CC5A-F57A-79C62C617A64}"/>
                      </a:ext>
                    </a:extLst>
                  </p:cNvPr>
                  <p:cNvSpPr/>
                  <p:nvPr/>
                </p:nvSpPr>
                <p:spPr>
                  <a:xfrm>
                    <a:off x="758700" y="4768374"/>
                    <a:ext cx="105728" cy="179245"/>
                  </a:xfrm>
                  <a:custGeom>
                    <a:avLst/>
                    <a:gdLst>
                      <a:gd name="connsiteX0" fmla="*/ 0 w 105728"/>
                      <a:gd name="connsiteY0" fmla="*/ 0 h 179245"/>
                      <a:gd name="connsiteX1" fmla="*/ 87907 w 105728"/>
                      <a:gd name="connsiteY1" fmla="*/ 98485 h 179245"/>
                      <a:gd name="connsiteX2" fmla="*/ 105254 w 105728"/>
                      <a:gd name="connsiteY2" fmla="*/ 167193 h 179245"/>
                      <a:gd name="connsiteX3" fmla="*/ 89248 w 105728"/>
                      <a:gd name="connsiteY3" fmla="*/ 169300 h 179245"/>
                      <a:gd name="connsiteX4" fmla="*/ 67260 w 105728"/>
                      <a:gd name="connsiteY4" fmla="*/ 123814 h 179245"/>
                      <a:gd name="connsiteX5" fmla="*/ 22200 w 105728"/>
                      <a:gd name="connsiteY5" fmla="*/ 66345 h 179245"/>
                      <a:gd name="connsiteX6" fmla="*/ 0 w 105728"/>
                      <a:gd name="connsiteY6" fmla="*/ 0 h 17924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105728" h="179245">
                        <a:moveTo>
                          <a:pt x="0" y="0"/>
                        </a:moveTo>
                        <a:cubicBezTo>
                          <a:pt x="0" y="0"/>
                          <a:pt x="46742" y="2427"/>
                          <a:pt x="87907" y="98485"/>
                        </a:cubicBezTo>
                        <a:cubicBezTo>
                          <a:pt x="94739" y="114449"/>
                          <a:pt x="103743" y="159254"/>
                          <a:pt x="105254" y="167193"/>
                        </a:cubicBezTo>
                        <a:cubicBezTo>
                          <a:pt x="108425" y="183795"/>
                          <a:pt x="94888" y="182029"/>
                          <a:pt x="89248" y="169300"/>
                        </a:cubicBezTo>
                        <a:cubicBezTo>
                          <a:pt x="87375" y="165086"/>
                          <a:pt x="69474" y="128752"/>
                          <a:pt x="67260" y="123814"/>
                        </a:cubicBezTo>
                        <a:cubicBezTo>
                          <a:pt x="60960" y="109703"/>
                          <a:pt x="28969" y="68005"/>
                          <a:pt x="22200" y="66345"/>
                        </a:cubicBezTo>
                        <a:cubicBezTo>
                          <a:pt x="15432" y="64685"/>
                          <a:pt x="0" y="0"/>
                          <a:pt x="0" y="0"/>
                        </a:cubicBezTo>
                        <a:close/>
                      </a:path>
                    </a:pathLst>
                  </a:custGeom>
                  <a:solidFill>
                    <a:srgbClr val="A35B47"/>
                  </a:solidFill>
                  <a:ln w="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GB"/>
                  </a:p>
                </p:txBody>
              </p:sp>
            </p:grpSp>
          </p:grpSp>
          <p:sp>
            <p:nvSpPr>
              <p:cNvPr id="1310" name="Freeform: Shape 1309">
                <a:extLst>
                  <a:ext uri="{FF2B5EF4-FFF2-40B4-BE49-F238E27FC236}">
                    <a16:creationId xmlns:a16="http://schemas.microsoft.com/office/drawing/2014/main" id="{9BAD27B1-31A5-1BB8-9BFB-1F42DFA9E5AB}"/>
                  </a:ext>
                </a:extLst>
              </p:cNvPr>
              <p:cNvSpPr/>
              <p:nvPr/>
            </p:nvSpPr>
            <p:spPr>
              <a:xfrm>
                <a:off x="498447" y="3695742"/>
                <a:ext cx="291819" cy="1084019"/>
              </a:xfrm>
              <a:custGeom>
                <a:avLst/>
                <a:gdLst>
                  <a:gd name="connsiteX0" fmla="*/ 150892 w 291819"/>
                  <a:gd name="connsiteY0" fmla="*/ 35908 h 1084019"/>
                  <a:gd name="connsiteX1" fmla="*/ 108812 w 291819"/>
                  <a:gd name="connsiteY1" fmla="*/ 25670 h 1084019"/>
                  <a:gd name="connsiteX2" fmla="*/ 57983 w 291819"/>
                  <a:gd name="connsiteY2" fmla="*/ 0 h 1084019"/>
                  <a:gd name="connsiteX3" fmla="*/ 1387 w 291819"/>
                  <a:gd name="connsiteY3" fmla="*/ 126964 h 1084019"/>
                  <a:gd name="connsiteX4" fmla="*/ 172326 w 291819"/>
                  <a:gd name="connsiteY4" fmla="*/ 960333 h 1084019"/>
                  <a:gd name="connsiteX5" fmla="*/ 210170 w 291819"/>
                  <a:gd name="connsiteY5" fmla="*/ 1044813 h 1084019"/>
                  <a:gd name="connsiteX6" fmla="*/ 225198 w 291819"/>
                  <a:gd name="connsiteY6" fmla="*/ 1084020 h 1084019"/>
                  <a:gd name="connsiteX7" fmla="*/ 291819 w 291819"/>
                  <a:gd name="connsiteY7" fmla="*/ 1053795 h 1084019"/>
                  <a:gd name="connsiteX8" fmla="*/ 194228 w 291819"/>
                  <a:gd name="connsiteY8" fmla="*/ 289113 h 1084019"/>
                  <a:gd name="connsiteX9" fmla="*/ 196825 w 291819"/>
                  <a:gd name="connsiteY9" fmla="*/ 289837 h 1084019"/>
                  <a:gd name="connsiteX10" fmla="*/ 159299 w 291819"/>
                  <a:gd name="connsiteY10" fmla="*/ 46039 h 1084019"/>
                  <a:gd name="connsiteX11" fmla="*/ 150871 w 291819"/>
                  <a:gd name="connsiteY11" fmla="*/ 35929 h 10840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291819" h="1084019">
                    <a:moveTo>
                      <a:pt x="150892" y="35908"/>
                    </a:moveTo>
                    <a:cubicBezTo>
                      <a:pt x="136780" y="33034"/>
                      <a:pt x="122732" y="29863"/>
                      <a:pt x="108812" y="25670"/>
                    </a:cubicBezTo>
                    <a:cubicBezTo>
                      <a:pt x="90677" y="20199"/>
                      <a:pt x="73351" y="11473"/>
                      <a:pt x="57983" y="0"/>
                    </a:cubicBezTo>
                    <a:cubicBezTo>
                      <a:pt x="21543" y="37206"/>
                      <a:pt x="5303" y="73944"/>
                      <a:pt x="1387" y="126964"/>
                    </a:cubicBezTo>
                    <a:cubicBezTo>
                      <a:pt x="-9873" y="279684"/>
                      <a:pt x="47469" y="685332"/>
                      <a:pt x="172326" y="960333"/>
                    </a:cubicBezTo>
                    <a:cubicBezTo>
                      <a:pt x="187928" y="994708"/>
                      <a:pt x="201380" y="1022017"/>
                      <a:pt x="210170" y="1044813"/>
                    </a:cubicBezTo>
                    <a:cubicBezTo>
                      <a:pt x="215598" y="1058861"/>
                      <a:pt x="225198" y="1084020"/>
                      <a:pt x="225198" y="1084020"/>
                    </a:cubicBezTo>
                    <a:lnTo>
                      <a:pt x="291819" y="1053795"/>
                    </a:lnTo>
                    <a:cubicBezTo>
                      <a:pt x="291819" y="1053795"/>
                      <a:pt x="147486" y="412778"/>
                      <a:pt x="194228" y="289113"/>
                    </a:cubicBezTo>
                    <a:cubicBezTo>
                      <a:pt x="203742" y="263933"/>
                      <a:pt x="259722" y="272617"/>
                      <a:pt x="196825" y="289837"/>
                    </a:cubicBezTo>
                    <a:cubicBezTo>
                      <a:pt x="194207" y="207017"/>
                      <a:pt x="178945" y="126007"/>
                      <a:pt x="159299" y="46039"/>
                    </a:cubicBezTo>
                    <a:cubicBezTo>
                      <a:pt x="156490" y="42655"/>
                      <a:pt x="153680" y="39292"/>
                      <a:pt x="150871" y="35929"/>
                    </a:cubicBezTo>
                    <a:close/>
                  </a:path>
                </a:pathLst>
              </a:custGeom>
              <a:solidFill>
                <a:schemeClr val="accent5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grpSp>
            <p:nvGrpSpPr>
              <p:cNvPr id="1311" name="Graphic 1191">
                <a:extLst>
                  <a:ext uri="{FF2B5EF4-FFF2-40B4-BE49-F238E27FC236}">
                    <a16:creationId xmlns:a16="http://schemas.microsoft.com/office/drawing/2014/main" id="{BB580A91-8DA0-66A4-3456-07B4C8FD9D54}"/>
                  </a:ext>
                </a:extLst>
              </p:cNvPr>
              <p:cNvGrpSpPr/>
              <p:nvPr/>
            </p:nvGrpSpPr>
            <p:grpSpPr>
              <a:xfrm>
                <a:off x="189736" y="3009190"/>
                <a:ext cx="493915" cy="527183"/>
                <a:chOff x="189736" y="3009190"/>
                <a:chExt cx="493915" cy="527183"/>
              </a:xfrm>
              <a:solidFill>
                <a:srgbClr val="3F2119"/>
              </a:solidFill>
            </p:grpSpPr>
            <p:sp>
              <p:nvSpPr>
                <p:cNvPr id="1312" name="Freeform: Shape 1311">
                  <a:extLst>
                    <a:ext uri="{FF2B5EF4-FFF2-40B4-BE49-F238E27FC236}">
                      <a16:creationId xmlns:a16="http://schemas.microsoft.com/office/drawing/2014/main" id="{C0FFEFDD-78CF-1AF6-51DC-0351A9333BD7}"/>
                    </a:ext>
                  </a:extLst>
                </p:cNvPr>
                <p:cNvSpPr/>
                <p:nvPr/>
              </p:nvSpPr>
              <p:spPr>
                <a:xfrm>
                  <a:off x="576053" y="3252936"/>
                  <a:ext cx="107598" cy="206753"/>
                </a:xfrm>
                <a:custGeom>
                  <a:avLst/>
                  <a:gdLst>
                    <a:gd name="connsiteX0" fmla="*/ 13198 w 107598"/>
                    <a:gd name="connsiteY0" fmla="*/ 155906 h 206753"/>
                    <a:gd name="connsiteX1" fmla="*/ 1725 w 107598"/>
                    <a:gd name="connsiteY1" fmla="*/ 138367 h 206753"/>
                    <a:gd name="connsiteX2" fmla="*/ 31461 w 107598"/>
                    <a:gd name="connsiteY2" fmla="*/ 86432 h 206753"/>
                    <a:gd name="connsiteX3" fmla="*/ 47509 w 107598"/>
                    <a:gd name="connsiteY3" fmla="*/ 84410 h 206753"/>
                    <a:gd name="connsiteX4" fmla="*/ 53448 w 107598"/>
                    <a:gd name="connsiteY4" fmla="*/ 65722 h 206753"/>
                    <a:gd name="connsiteX5" fmla="*/ 33717 w 107598"/>
                    <a:gd name="connsiteY5" fmla="*/ 44947 h 206753"/>
                    <a:gd name="connsiteX6" fmla="*/ 58428 w 107598"/>
                    <a:gd name="connsiteY6" fmla="*/ 1760 h 206753"/>
                    <a:gd name="connsiteX7" fmla="*/ 103276 w 107598"/>
                    <a:gd name="connsiteY7" fmla="*/ 23343 h 206753"/>
                    <a:gd name="connsiteX8" fmla="*/ 93974 w 107598"/>
                    <a:gd name="connsiteY8" fmla="*/ 57420 h 206753"/>
                    <a:gd name="connsiteX9" fmla="*/ 106405 w 107598"/>
                    <a:gd name="connsiteY9" fmla="*/ 72767 h 206753"/>
                    <a:gd name="connsiteX10" fmla="*/ 85886 w 107598"/>
                    <a:gd name="connsiteY10" fmla="*/ 108632 h 206753"/>
                    <a:gd name="connsiteX11" fmla="*/ 84183 w 107598"/>
                    <a:gd name="connsiteY11" fmla="*/ 109079 h 206753"/>
                    <a:gd name="connsiteX12" fmla="*/ 85418 w 107598"/>
                    <a:gd name="connsiteY12" fmla="*/ 112399 h 206753"/>
                    <a:gd name="connsiteX13" fmla="*/ 56960 w 107598"/>
                    <a:gd name="connsiteY13" fmla="*/ 163888 h 206753"/>
                    <a:gd name="connsiteX14" fmla="*/ 59429 w 107598"/>
                    <a:gd name="connsiteY14" fmla="*/ 169422 h 206753"/>
                    <a:gd name="connsiteX15" fmla="*/ 38889 w 107598"/>
                    <a:gd name="connsiteY15" fmla="*/ 205287 h 206753"/>
                    <a:gd name="connsiteX16" fmla="*/ 1662 w 107598"/>
                    <a:gd name="connsiteY16" fmla="*/ 187365 h 206753"/>
                    <a:gd name="connsiteX17" fmla="*/ 13219 w 107598"/>
                    <a:gd name="connsiteY17" fmla="*/ 155927 h 20675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</a:cxnLst>
                  <a:rect l="l" t="t" r="r" b="b"/>
                  <a:pathLst>
                    <a:path w="107598" h="206753">
                      <a:moveTo>
                        <a:pt x="13198" y="155906"/>
                      </a:moveTo>
                      <a:cubicBezTo>
                        <a:pt x="7962" y="151308"/>
                        <a:pt x="3897" y="145370"/>
                        <a:pt x="1725" y="138367"/>
                      </a:cubicBezTo>
                      <a:cubicBezTo>
                        <a:pt x="-4958" y="116848"/>
                        <a:pt x="8366" y="93605"/>
                        <a:pt x="31461" y="86432"/>
                      </a:cubicBezTo>
                      <a:cubicBezTo>
                        <a:pt x="36824" y="84772"/>
                        <a:pt x="42252" y="84154"/>
                        <a:pt x="47509" y="84410"/>
                      </a:cubicBezTo>
                      <a:cubicBezTo>
                        <a:pt x="47126" y="77705"/>
                        <a:pt x="49319" y="71107"/>
                        <a:pt x="53448" y="65722"/>
                      </a:cubicBezTo>
                      <a:cubicBezTo>
                        <a:pt x="44189" y="62082"/>
                        <a:pt x="36760" y="54760"/>
                        <a:pt x="33717" y="44947"/>
                      </a:cubicBezTo>
                      <a:cubicBezTo>
                        <a:pt x="28161" y="27068"/>
                        <a:pt x="39229" y="7720"/>
                        <a:pt x="58428" y="1760"/>
                      </a:cubicBezTo>
                      <a:cubicBezTo>
                        <a:pt x="77627" y="-4199"/>
                        <a:pt x="97720" y="5464"/>
                        <a:pt x="103276" y="23343"/>
                      </a:cubicBezTo>
                      <a:cubicBezTo>
                        <a:pt x="107086" y="35625"/>
                        <a:pt x="103063" y="48566"/>
                        <a:pt x="93974" y="57420"/>
                      </a:cubicBezTo>
                      <a:cubicBezTo>
                        <a:pt x="99785" y="60783"/>
                        <a:pt x="104319" y="66062"/>
                        <a:pt x="106405" y="72767"/>
                      </a:cubicBezTo>
                      <a:cubicBezTo>
                        <a:pt x="111023" y="87624"/>
                        <a:pt x="101828" y="103673"/>
                        <a:pt x="85886" y="108632"/>
                      </a:cubicBezTo>
                      <a:cubicBezTo>
                        <a:pt x="85311" y="108802"/>
                        <a:pt x="84758" y="108930"/>
                        <a:pt x="84183" y="109079"/>
                      </a:cubicBezTo>
                      <a:cubicBezTo>
                        <a:pt x="84630" y="110164"/>
                        <a:pt x="85056" y="111271"/>
                        <a:pt x="85418" y="112399"/>
                      </a:cubicBezTo>
                      <a:cubicBezTo>
                        <a:pt x="91974" y="133514"/>
                        <a:pt x="79266" y="156246"/>
                        <a:pt x="56960" y="163888"/>
                      </a:cubicBezTo>
                      <a:cubicBezTo>
                        <a:pt x="57960" y="165612"/>
                        <a:pt x="58812" y="167442"/>
                        <a:pt x="59429" y="169422"/>
                      </a:cubicBezTo>
                      <a:cubicBezTo>
                        <a:pt x="64048" y="184279"/>
                        <a:pt x="54853" y="200327"/>
                        <a:pt x="38889" y="205287"/>
                      </a:cubicBezTo>
                      <a:cubicBezTo>
                        <a:pt x="22947" y="210246"/>
                        <a:pt x="6259" y="202222"/>
                        <a:pt x="1662" y="187365"/>
                      </a:cubicBezTo>
                      <a:cubicBezTo>
                        <a:pt x="-1999" y="175594"/>
                        <a:pt x="3045" y="163079"/>
                        <a:pt x="13219" y="155927"/>
                      </a:cubicBezTo>
                      <a:close/>
                    </a:path>
                  </a:pathLst>
                </a:custGeom>
                <a:solidFill>
                  <a:schemeClr val="tx2">
                    <a:lumMod val="50000"/>
                  </a:schemeClr>
                </a:solidFill>
                <a:ln w="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GB"/>
                </a:p>
              </p:txBody>
            </p:sp>
            <p:sp>
              <p:nvSpPr>
                <p:cNvPr id="1313" name="Freeform: Shape 1312">
                  <a:extLst>
                    <a:ext uri="{FF2B5EF4-FFF2-40B4-BE49-F238E27FC236}">
                      <a16:creationId xmlns:a16="http://schemas.microsoft.com/office/drawing/2014/main" id="{5B3056FB-0644-36D0-DF24-5A63EECB96A5}"/>
                    </a:ext>
                  </a:extLst>
                </p:cNvPr>
                <p:cNvSpPr/>
                <p:nvPr/>
              </p:nvSpPr>
              <p:spPr>
                <a:xfrm>
                  <a:off x="189736" y="3009190"/>
                  <a:ext cx="490979" cy="527183"/>
                </a:xfrm>
                <a:custGeom>
                  <a:avLst/>
                  <a:gdLst>
                    <a:gd name="connsiteX0" fmla="*/ 12406 w 490979"/>
                    <a:gd name="connsiteY0" fmla="*/ 369470 h 527183"/>
                    <a:gd name="connsiteX1" fmla="*/ 26774 w 490979"/>
                    <a:gd name="connsiteY1" fmla="*/ 331285 h 527183"/>
                    <a:gd name="connsiteX2" fmla="*/ 21708 w 490979"/>
                    <a:gd name="connsiteY2" fmla="*/ 322196 h 527183"/>
                    <a:gd name="connsiteX3" fmla="*/ 24092 w 490979"/>
                    <a:gd name="connsiteY3" fmla="*/ 300336 h 527183"/>
                    <a:gd name="connsiteX4" fmla="*/ 1892 w 490979"/>
                    <a:gd name="connsiteY4" fmla="*/ 274624 h 527183"/>
                    <a:gd name="connsiteX5" fmla="*/ 20409 w 490979"/>
                    <a:gd name="connsiteY5" fmla="*/ 224520 h 527183"/>
                    <a:gd name="connsiteX6" fmla="*/ 12491 w 490979"/>
                    <a:gd name="connsiteY6" fmla="*/ 210152 h 527183"/>
                    <a:gd name="connsiteX7" fmla="*/ 34159 w 490979"/>
                    <a:gd name="connsiteY7" fmla="*/ 158536 h 527183"/>
                    <a:gd name="connsiteX8" fmla="*/ 27774 w 490979"/>
                    <a:gd name="connsiteY8" fmla="*/ 147106 h 527183"/>
                    <a:gd name="connsiteX9" fmla="*/ 52507 w 490979"/>
                    <a:gd name="connsiteY9" fmla="*/ 103919 h 527183"/>
                    <a:gd name="connsiteX10" fmla="*/ 54891 w 490979"/>
                    <a:gd name="connsiteY10" fmla="*/ 103302 h 527183"/>
                    <a:gd name="connsiteX11" fmla="*/ 98695 w 490979"/>
                    <a:gd name="connsiteY11" fmla="*/ 47110 h 527183"/>
                    <a:gd name="connsiteX12" fmla="*/ 126940 w 490979"/>
                    <a:gd name="connsiteY12" fmla="*/ 44832 h 527183"/>
                    <a:gd name="connsiteX13" fmla="*/ 156675 w 490979"/>
                    <a:gd name="connsiteY13" fmla="*/ 19035 h 527183"/>
                    <a:gd name="connsiteX14" fmla="*/ 195669 w 490979"/>
                    <a:gd name="connsiteY14" fmla="*/ 23377 h 527183"/>
                    <a:gd name="connsiteX15" fmla="*/ 237728 w 490979"/>
                    <a:gd name="connsiteY15" fmla="*/ 325 h 527183"/>
                    <a:gd name="connsiteX16" fmla="*/ 284023 w 490979"/>
                    <a:gd name="connsiteY16" fmla="*/ 19673 h 527183"/>
                    <a:gd name="connsiteX17" fmla="*/ 289217 w 490979"/>
                    <a:gd name="connsiteY17" fmla="*/ 17800 h 527183"/>
                    <a:gd name="connsiteX18" fmla="*/ 351113 w 490979"/>
                    <a:gd name="connsiteY18" fmla="*/ 36084 h 527183"/>
                    <a:gd name="connsiteX19" fmla="*/ 356200 w 490979"/>
                    <a:gd name="connsiteY19" fmla="*/ 34190 h 527183"/>
                    <a:gd name="connsiteX20" fmla="*/ 415436 w 490979"/>
                    <a:gd name="connsiteY20" fmla="*/ 62690 h 527183"/>
                    <a:gd name="connsiteX21" fmla="*/ 416224 w 490979"/>
                    <a:gd name="connsiteY21" fmla="*/ 65798 h 527183"/>
                    <a:gd name="connsiteX22" fmla="*/ 450982 w 490979"/>
                    <a:gd name="connsiteY22" fmla="*/ 89084 h 527183"/>
                    <a:gd name="connsiteX23" fmla="*/ 450535 w 490979"/>
                    <a:gd name="connsiteY23" fmla="*/ 109389 h 527183"/>
                    <a:gd name="connsiteX24" fmla="*/ 489082 w 490979"/>
                    <a:gd name="connsiteY24" fmla="*/ 139869 h 527183"/>
                    <a:gd name="connsiteX25" fmla="*/ 456410 w 490979"/>
                    <a:gd name="connsiteY25" fmla="*/ 196934 h 527183"/>
                    <a:gd name="connsiteX26" fmla="*/ 397174 w 490979"/>
                    <a:gd name="connsiteY26" fmla="*/ 168434 h 527183"/>
                    <a:gd name="connsiteX27" fmla="*/ 402516 w 490979"/>
                    <a:gd name="connsiteY27" fmla="*/ 131994 h 527183"/>
                    <a:gd name="connsiteX28" fmla="*/ 385318 w 490979"/>
                    <a:gd name="connsiteY28" fmla="*/ 118861 h 527183"/>
                    <a:gd name="connsiteX29" fmla="*/ 382785 w 490979"/>
                    <a:gd name="connsiteY29" fmla="*/ 119776 h 527183"/>
                    <a:gd name="connsiteX30" fmla="*/ 376336 w 490979"/>
                    <a:gd name="connsiteY30" fmla="*/ 121288 h 527183"/>
                    <a:gd name="connsiteX31" fmla="*/ 341301 w 490979"/>
                    <a:gd name="connsiteY31" fmla="*/ 150789 h 527183"/>
                    <a:gd name="connsiteX32" fmla="*/ 280767 w 490979"/>
                    <a:gd name="connsiteY32" fmla="*/ 133803 h 527183"/>
                    <a:gd name="connsiteX33" fmla="*/ 270018 w 490979"/>
                    <a:gd name="connsiteY33" fmla="*/ 139103 h 527183"/>
                    <a:gd name="connsiteX34" fmla="*/ 269400 w 490979"/>
                    <a:gd name="connsiteY34" fmla="*/ 139273 h 527183"/>
                    <a:gd name="connsiteX35" fmla="*/ 226405 w 490979"/>
                    <a:gd name="connsiteY35" fmla="*/ 180481 h 527183"/>
                    <a:gd name="connsiteX36" fmla="*/ 189774 w 490979"/>
                    <a:gd name="connsiteY36" fmla="*/ 169988 h 527183"/>
                    <a:gd name="connsiteX37" fmla="*/ 180131 w 490979"/>
                    <a:gd name="connsiteY37" fmla="*/ 174117 h 527183"/>
                    <a:gd name="connsiteX38" fmla="*/ 148417 w 490979"/>
                    <a:gd name="connsiteY38" fmla="*/ 173606 h 527183"/>
                    <a:gd name="connsiteX39" fmla="*/ 124897 w 490979"/>
                    <a:gd name="connsiteY39" fmla="*/ 204937 h 527183"/>
                    <a:gd name="connsiteX40" fmla="*/ 126259 w 490979"/>
                    <a:gd name="connsiteY40" fmla="*/ 208492 h 527183"/>
                    <a:gd name="connsiteX41" fmla="*/ 101526 w 490979"/>
                    <a:gd name="connsiteY41" fmla="*/ 251679 h 527183"/>
                    <a:gd name="connsiteX42" fmla="*/ 95268 w 490979"/>
                    <a:gd name="connsiteY42" fmla="*/ 253041 h 527183"/>
                    <a:gd name="connsiteX43" fmla="*/ 95652 w 490979"/>
                    <a:gd name="connsiteY43" fmla="*/ 259959 h 527183"/>
                    <a:gd name="connsiteX44" fmla="*/ 129644 w 490979"/>
                    <a:gd name="connsiteY44" fmla="*/ 289737 h 527183"/>
                    <a:gd name="connsiteX45" fmla="*/ 96971 w 490979"/>
                    <a:gd name="connsiteY45" fmla="*/ 346801 h 527183"/>
                    <a:gd name="connsiteX46" fmla="*/ 82327 w 490979"/>
                    <a:gd name="connsiteY46" fmla="*/ 349419 h 527183"/>
                    <a:gd name="connsiteX47" fmla="*/ 83157 w 490979"/>
                    <a:gd name="connsiteY47" fmla="*/ 361381 h 527183"/>
                    <a:gd name="connsiteX48" fmla="*/ 119299 w 490979"/>
                    <a:gd name="connsiteY48" fmla="*/ 390861 h 527183"/>
                    <a:gd name="connsiteX49" fmla="*/ 120108 w 490979"/>
                    <a:gd name="connsiteY49" fmla="*/ 412103 h 527183"/>
                    <a:gd name="connsiteX50" fmla="*/ 135029 w 490979"/>
                    <a:gd name="connsiteY50" fmla="*/ 424683 h 527183"/>
                    <a:gd name="connsiteX51" fmla="*/ 199203 w 490979"/>
                    <a:gd name="connsiteY51" fmla="*/ 428599 h 527183"/>
                    <a:gd name="connsiteX52" fmla="*/ 211399 w 490979"/>
                    <a:gd name="connsiteY52" fmla="*/ 459079 h 527183"/>
                    <a:gd name="connsiteX53" fmla="*/ 216444 w 490979"/>
                    <a:gd name="connsiteY53" fmla="*/ 459888 h 527183"/>
                    <a:gd name="connsiteX54" fmla="*/ 237579 w 490979"/>
                    <a:gd name="connsiteY54" fmla="*/ 443818 h 527183"/>
                    <a:gd name="connsiteX55" fmla="*/ 282427 w 490979"/>
                    <a:gd name="connsiteY55" fmla="*/ 465401 h 527183"/>
                    <a:gd name="connsiteX56" fmla="*/ 257715 w 490979"/>
                    <a:gd name="connsiteY56" fmla="*/ 508588 h 527183"/>
                    <a:gd name="connsiteX57" fmla="*/ 232003 w 490979"/>
                    <a:gd name="connsiteY57" fmla="*/ 516378 h 527183"/>
                    <a:gd name="connsiteX58" fmla="*/ 216635 w 490979"/>
                    <a:gd name="connsiteY58" fmla="*/ 525424 h 527183"/>
                    <a:gd name="connsiteX59" fmla="*/ 174427 w 490979"/>
                    <a:gd name="connsiteY59" fmla="*/ 509971 h 527183"/>
                    <a:gd name="connsiteX60" fmla="*/ 115319 w 490979"/>
                    <a:gd name="connsiteY60" fmla="*/ 501926 h 527183"/>
                    <a:gd name="connsiteX61" fmla="*/ 106549 w 490979"/>
                    <a:gd name="connsiteY61" fmla="*/ 477044 h 527183"/>
                    <a:gd name="connsiteX62" fmla="*/ 69067 w 490979"/>
                    <a:gd name="connsiteY62" fmla="*/ 453928 h 527183"/>
                    <a:gd name="connsiteX63" fmla="*/ 67896 w 490979"/>
                    <a:gd name="connsiteY63" fmla="*/ 448245 h 527183"/>
                    <a:gd name="connsiteX64" fmla="*/ 29988 w 490979"/>
                    <a:gd name="connsiteY64" fmla="*/ 418553 h 527183"/>
                    <a:gd name="connsiteX65" fmla="*/ 31520 w 490979"/>
                    <a:gd name="connsiteY65" fmla="*/ 390074 h 527183"/>
                    <a:gd name="connsiteX66" fmla="*/ 12385 w 490979"/>
                    <a:gd name="connsiteY66" fmla="*/ 369555 h 52718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</a:cxnLst>
                  <a:rect l="l" t="t" r="r" b="b"/>
                  <a:pathLst>
                    <a:path w="490979" h="527183">
                      <a:moveTo>
                        <a:pt x="12406" y="369470"/>
                      </a:moveTo>
                      <a:cubicBezTo>
                        <a:pt x="7958" y="355124"/>
                        <a:pt x="14216" y="339841"/>
                        <a:pt x="26774" y="331285"/>
                      </a:cubicBezTo>
                      <a:cubicBezTo>
                        <a:pt x="24475" y="328560"/>
                        <a:pt x="22729" y="325516"/>
                        <a:pt x="21708" y="322196"/>
                      </a:cubicBezTo>
                      <a:cubicBezTo>
                        <a:pt x="19537" y="315193"/>
                        <a:pt x="20707" y="307658"/>
                        <a:pt x="24092" y="300336"/>
                      </a:cubicBezTo>
                      <a:cubicBezTo>
                        <a:pt x="13683" y="295122"/>
                        <a:pt x="5489" y="286182"/>
                        <a:pt x="1892" y="274624"/>
                      </a:cubicBezTo>
                      <a:cubicBezTo>
                        <a:pt x="-3941" y="255851"/>
                        <a:pt x="4126" y="235886"/>
                        <a:pt x="20409" y="224520"/>
                      </a:cubicBezTo>
                      <a:cubicBezTo>
                        <a:pt x="16940" y="220369"/>
                        <a:pt x="14194" y="215559"/>
                        <a:pt x="12491" y="210152"/>
                      </a:cubicBezTo>
                      <a:cubicBezTo>
                        <a:pt x="6340" y="190357"/>
                        <a:pt x="15854" y="169243"/>
                        <a:pt x="34159" y="158536"/>
                      </a:cubicBezTo>
                      <a:cubicBezTo>
                        <a:pt x="31329" y="155280"/>
                        <a:pt x="29115" y="151427"/>
                        <a:pt x="27774" y="147106"/>
                      </a:cubicBezTo>
                      <a:cubicBezTo>
                        <a:pt x="22219" y="129227"/>
                        <a:pt x="33287" y="109879"/>
                        <a:pt x="52507" y="103919"/>
                      </a:cubicBezTo>
                      <a:cubicBezTo>
                        <a:pt x="53295" y="103664"/>
                        <a:pt x="54082" y="103493"/>
                        <a:pt x="54891" y="103302"/>
                      </a:cubicBezTo>
                      <a:cubicBezTo>
                        <a:pt x="55061" y="78633"/>
                        <a:pt x="72259" y="55326"/>
                        <a:pt x="98695" y="47110"/>
                      </a:cubicBezTo>
                      <a:cubicBezTo>
                        <a:pt x="108210" y="44151"/>
                        <a:pt x="117830" y="43534"/>
                        <a:pt x="126940" y="44832"/>
                      </a:cubicBezTo>
                      <a:cubicBezTo>
                        <a:pt x="132262" y="33062"/>
                        <a:pt x="142819" y="23334"/>
                        <a:pt x="156675" y="19035"/>
                      </a:cubicBezTo>
                      <a:cubicBezTo>
                        <a:pt x="170489" y="14757"/>
                        <a:pt x="184623" y="16757"/>
                        <a:pt x="195669" y="23377"/>
                      </a:cubicBezTo>
                      <a:cubicBezTo>
                        <a:pt x="202055" y="8158"/>
                        <a:pt x="219189" y="2348"/>
                        <a:pt x="237728" y="325"/>
                      </a:cubicBezTo>
                      <a:cubicBezTo>
                        <a:pt x="258694" y="-1973"/>
                        <a:pt x="274743" y="8265"/>
                        <a:pt x="284023" y="19673"/>
                      </a:cubicBezTo>
                      <a:cubicBezTo>
                        <a:pt x="285705" y="18971"/>
                        <a:pt x="287429" y="18354"/>
                        <a:pt x="289217" y="17800"/>
                      </a:cubicBezTo>
                      <a:cubicBezTo>
                        <a:pt x="313226" y="10351"/>
                        <a:pt x="338023" y="18396"/>
                        <a:pt x="351113" y="36084"/>
                      </a:cubicBezTo>
                      <a:cubicBezTo>
                        <a:pt x="352773" y="35382"/>
                        <a:pt x="354455" y="34722"/>
                        <a:pt x="356200" y="34190"/>
                      </a:cubicBezTo>
                      <a:cubicBezTo>
                        <a:pt x="381572" y="26314"/>
                        <a:pt x="408093" y="39064"/>
                        <a:pt x="415436" y="62690"/>
                      </a:cubicBezTo>
                      <a:cubicBezTo>
                        <a:pt x="415755" y="63712"/>
                        <a:pt x="415990" y="64755"/>
                        <a:pt x="416224" y="65798"/>
                      </a:cubicBezTo>
                      <a:cubicBezTo>
                        <a:pt x="431932" y="65202"/>
                        <a:pt x="446406" y="74333"/>
                        <a:pt x="450982" y="89084"/>
                      </a:cubicBezTo>
                      <a:cubicBezTo>
                        <a:pt x="453110" y="95916"/>
                        <a:pt x="452791" y="102961"/>
                        <a:pt x="450535" y="109389"/>
                      </a:cubicBezTo>
                      <a:cubicBezTo>
                        <a:pt x="468308" y="111348"/>
                        <a:pt x="483761" y="122735"/>
                        <a:pt x="489082" y="139869"/>
                      </a:cubicBezTo>
                      <a:cubicBezTo>
                        <a:pt x="496425" y="163496"/>
                        <a:pt x="481803" y="189038"/>
                        <a:pt x="456410" y="196934"/>
                      </a:cubicBezTo>
                      <a:cubicBezTo>
                        <a:pt x="431038" y="204810"/>
                        <a:pt x="404517" y="192060"/>
                        <a:pt x="397174" y="168434"/>
                      </a:cubicBezTo>
                      <a:cubicBezTo>
                        <a:pt x="393257" y="155833"/>
                        <a:pt x="395641" y="142700"/>
                        <a:pt x="402516" y="131994"/>
                      </a:cubicBezTo>
                      <a:cubicBezTo>
                        <a:pt x="395471" y="129546"/>
                        <a:pt x="389383" y="124991"/>
                        <a:pt x="385318" y="118861"/>
                      </a:cubicBezTo>
                      <a:cubicBezTo>
                        <a:pt x="384467" y="119180"/>
                        <a:pt x="383658" y="119521"/>
                        <a:pt x="382785" y="119776"/>
                      </a:cubicBezTo>
                      <a:cubicBezTo>
                        <a:pt x="380635" y="120436"/>
                        <a:pt x="378486" y="120905"/>
                        <a:pt x="376336" y="121288"/>
                      </a:cubicBezTo>
                      <a:cubicBezTo>
                        <a:pt x="369695" y="134740"/>
                        <a:pt x="357371" y="145787"/>
                        <a:pt x="341301" y="150789"/>
                      </a:cubicBezTo>
                      <a:cubicBezTo>
                        <a:pt x="318185" y="157962"/>
                        <a:pt x="294304" y="150491"/>
                        <a:pt x="280767" y="133803"/>
                      </a:cubicBezTo>
                      <a:cubicBezTo>
                        <a:pt x="277574" y="136038"/>
                        <a:pt x="273977" y="137869"/>
                        <a:pt x="270018" y="139103"/>
                      </a:cubicBezTo>
                      <a:cubicBezTo>
                        <a:pt x="269805" y="139167"/>
                        <a:pt x="269613" y="139210"/>
                        <a:pt x="269400" y="139273"/>
                      </a:cubicBezTo>
                      <a:cubicBezTo>
                        <a:pt x="267400" y="160282"/>
                        <a:pt x="249712" y="177927"/>
                        <a:pt x="226405" y="180481"/>
                      </a:cubicBezTo>
                      <a:cubicBezTo>
                        <a:pt x="212527" y="181992"/>
                        <a:pt x="199479" y="177820"/>
                        <a:pt x="189774" y="169988"/>
                      </a:cubicBezTo>
                      <a:cubicBezTo>
                        <a:pt x="186772" y="171648"/>
                        <a:pt x="183558" y="173053"/>
                        <a:pt x="180131" y="174117"/>
                      </a:cubicBezTo>
                      <a:cubicBezTo>
                        <a:pt x="169234" y="177501"/>
                        <a:pt x="158144" y="177054"/>
                        <a:pt x="148417" y="173606"/>
                      </a:cubicBezTo>
                      <a:cubicBezTo>
                        <a:pt x="147778" y="187037"/>
                        <a:pt x="138754" y="199552"/>
                        <a:pt x="124897" y="204937"/>
                      </a:cubicBezTo>
                      <a:cubicBezTo>
                        <a:pt x="125408" y="206087"/>
                        <a:pt x="125876" y="207257"/>
                        <a:pt x="126259" y="208492"/>
                      </a:cubicBezTo>
                      <a:cubicBezTo>
                        <a:pt x="131815" y="226371"/>
                        <a:pt x="120747" y="245719"/>
                        <a:pt x="101526" y="251679"/>
                      </a:cubicBezTo>
                      <a:cubicBezTo>
                        <a:pt x="99440" y="252318"/>
                        <a:pt x="97354" y="252765"/>
                        <a:pt x="95268" y="253041"/>
                      </a:cubicBezTo>
                      <a:cubicBezTo>
                        <a:pt x="95588" y="255361"/>
                        <a:pt x="95737" y="257660"/>
                        <a:pt x="95652" y="259959"/>
                      </a:cubicBezTo>
                      <a:cubicBezTo>
                        <a:pt x="111466" y="263215"/>
                        <a:pt x="124769" y="274071"/>
                        <a:pt x="129644" y="289737"/>
                      </a:cubicBezTo>
                      <a:cubicBezTo>
                        <a:pt x="136987" y="313363"/>
                        <a:pt x="122364" y="338905"/>
                        <a:pt x="96971" y="346801"/>
                      </a:cubicBezTo>
                      <a:cubicBezTo>
                        <a:pt x="92523" y="348185"/>
                        <a:pt x="87542" y="349036"/>
                        <a:pt x="82327" y="349419"/>
                      </a:cubicBezTo>
                      <a:cubicBezTo>
                        <a:pt x="83370" y="353421"/>
                        <a:pt x="83647" y="357444"/>
                        <a:pt x="83157" y="361381"/>
                      </a:cubicBezTo>
                      <a:cubicBezTo>
                        <a:pt x="99866" y="363680"/>
                        <a:pt x="114255" y="374599"/>
                        <a:pt x="119299" y="390861"/>
                      </a:cubicBezTo>
                      <a:cubicBezTo>
                        <a:pt x="121491" y="397949"/>
                        <a:pt x="121662" y="405228"/>
                        <a:pt x="120108" y="412103"/>
                      </a:cubicBezTo>
                      <a:cubicBezTo>
                        <a:pt x="126217" y="414764"/>
                        <a:pt x="131453" y="419085"/>
                        <a:pt x="135029" y="424683"/>
                      </a:cubicBezTo>
                      <a:cubicBezTo>
                        <a:pt x="155249" y="409911"/>
                        <a:pt x="182749" y="411146"/>
                        <a:pt x="199203" y="428599"/>
                      </a:cubicBezTo>
                      <a:cubicBezTo>
                        <a:pt x="207185" y="437071"/>
                        <a:pt x="211207" y="447947"/>
                        <a:pt x="211399" y="459079"/>
                      </a:cubicBezTo>
                      <a:cubicBezTo>
                        <a:pt x="213123" y="459228"/>
                        <a:pt x="214805" y="459526"/>
                        <a:pt x="216444" y="459888"/>
                      </a:cubicBezTo>
                      <a:cubicBezTo>
                        <a:pt x="221062" y="452587"/>
                        <a:pt x="228448" y="446670"/>
                        <a:pt x="237579" y="443818"/>
                      </a:cubicBezTo>
                      <a:cubicBezTo>
                        <a:pt x="256800" y="437858"/>
                        <a:pt x="276871" y="447522"/>
                        <a:pt x="282427" y="465401"/>
                      </a:cubicBezTo>
                      <a:cubicBezTo>
                        <a:pt x="287982" y="483280"/>
                        <a:pt x="269847" y="492539"/>
                        <a:pt x="257715" y="508588"/>
                      </a:cubicBezTo>
                      <a:cubicBezTo>
                        <a:pt x="249882" y="518954"/>
                        <a:pt x="240666" y="521657"/>
                        <a:pt x="232003" y="516378"/>
                      </a:cubicBezTo>
                      <a:cubicBezTo>
                        <a:pt x="227852" y="520401"/>
                        <a:pt x="222637" y="523573"/>
                        <a:pt x="216635" y="525424"/>
                      </a:cubicBezTo>
                      <a:cubicBezTo>
                        <a:pt x="199756" y="530661"/>
                        <a:pt x="182217" y="523828"/>
                        <a:pt x="174427" y="509971"/>
                      </a:cubicBezTo>
                      <a:cubicBezTo>
                        <a:pt x="153738" y="517528"/>
                        <a:pt x="128409" y="515804"/>
                        <a:pt x="115319" y="501926"/>
                      </a:cubicBezTo>
                      <a:cubicBezTo>
                        <a:pt x="108933" y="495136"/>
                        <a:pt x="106337" y="486388"/>
                        <a:pt x="106549" y="477044"/>
                      </a:cubicBezTo>
                      <a:cubicBezTo>
                        <a:pt x="89820" y="478874"/>
                        <a:pt x="73898" y="469551"/>
                        <a:pt x="69067" y="453928"/>
                      </a:cubicBezTo>
                      <a:cubicBezTo>
                        <a:pt x="68492" y="452034"/>
                        <a:pt x="68109" y="450140"/>
                        <a:pt x="67896" y="448245"/>
                      </a:cubicBezTo>
                      <a:cubicBezTo>
                        <a:pt x="50442" y="446479"/>
                        <a:pt x="35202" y="435368"/>
                        <a:pt x="29988" y="418553"/>
                      </a:cubicBezTo>
                      <a:cubicBezTo>
                        <a:pt x="26986" y="408911"/>
                        <a:pt x="27795" y="398949"/>
                        <a:pt x="31520" y="390074"/>
                      </a:cubicBezTo>
                      <a:cubicBezTo>
                        <a:pt x="22559" y="386349"/>
                        <a:pt x="15365" y="379154"/>
                        <a:pt x="12385" y="369555"/>
                      </a:cubicBezTo>
                      <a:close/>
                    </a:path>
                  </a:pathLst>
                </a:custGeom>
                <a:solidFill>
                  <a:schemeClr val="tx2">
                    <a:lumMod val="50000"/>
                  </a:schemeClr>
                </a:solidFill>
                <a:ln w="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GB"/>
                </a:p>
              </p:txBody>
            </p:sp>
            <p:sp>
              <p:nvSpPr>
                <p:cNvPr id="1314" name="Freeform: Shape 1313">
                  <a:extLst>
                    <a:ext uri="{FF2B5EF4-FFF2-40B4-BE49-F238E27FC236}">
                      <a16:creationId xmlns:a16="http://schemas.microsoft.com/office/drawing/2014/main" id="{41E29C82-C56A-49FF-6CAC-8C1363BE8A3A}"/>
                    </a:ext>
                  </a:extLst>
                </p:cNvPr>
                <p:cNvSpPr/>
                <p:nvPr/>
              </p:nvSpPr>
              <p:spPr>
                <a:xfrm>
                  <a:off x="390782" y="3206769"/>
                  <a:ext cx="72428" cy="68290"/>
                </a:xfrm>
                <a:custGeom>
                  <a:avLst/>
                  <a:gdLst>
                    <a:gd name="connsiteX0" fmla="*/ 26146 w 72428"/>
                    <a:gd name="connsiteY0" fmla="*/ 1760 h 68290"/>
                    <a:gd name="connsiteX1" fmla="*/ 70994 w 72428"/>
                    <a:gd name="connsiteY1" fmla="*/ 23343 h 68290"/>
                    <a:gd name="connsiteX2" fmla="*/ 46282 w 72428"/>
                    <a:gd name="connsiteY2" fmla="*/ 66530 h 68290"/>
                    <a:gd name="connsiteX3" fmla="*/ 1435 w 72428"/>
                    <a:gd name="connsiteY3" fmla="*/ 44947 h 68290"/>
                    <a:gd name="connsiteX4" fmla="*/ 26168 w 72428"/>
                    <a:gd name="connsiteY4" fmla="*/ 1760 h 682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72428" h="68290">
                      <a:moveTo>
                        <a:pt x="26146" y="1760"/>
                      </a:moveTo>
                      <a:cubicBezTo>
                        <a:pt x="45367" y="-4199"/>
                        <a:pt x="65438" y="5464"/>
                        <a:pt x="70994" y="23343"/>
                      </a:cubicBezTo>
                      <a:cubicBezTo>
                        <a:pt x="76549" y="41223"/>
                        <a:pt x="65481" y="60571"/>
                        <a:pt x="46282" y="66530"/>
                      </a:cubicBezTo>
                      <a:cubicBezTo>
                        <a:pt x="27062" y="72490"/>
                        <a:pt x="6990" y="62827"/>
                        <a:pt x="1435" y="44947"/>
                      </a:cubicBezTo>
                      <a:cubicBezTo>
                        <a:pt x="-4121" y="27068"/>
                        <a:pt x="6947" y="7720"/>
                        <a:pt x="26168" y="1760"/>
                      </a:cubicBezTo>
                      <a:close/>
                    </a:path>
                  </a:pathLst>
                </a:custGeom>
                <a:solidFill>
                  <a:schemeClr val="tx2">
                    <a:lumMod val="50000"/>
                  </a:schemeClr>
                </a:solidFill>
                <a:ln w="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GB"/>
                </a:p>
              </p:txBody>
            </p:sp>
          </p:grpSp>
          <p:grpSp>
            <p:nvGrpSpPr>
              <p:cNvPr id="1315" name="Graphic 1191">
                <a:extLst>
                  <a:ext uri="{FF2B5EF4-FFF2-40B4-BE49-F238E27FC236}">
                    <a16:creationId xmlns:a16="http://schemas.microsoft.com/office/drawing/2014/main" id="{C4E64AD1-536B-1836-85BA-4B0EB1270DD8}"/>
                  </a:ext>
                </a:extLst>
              </p:cNvPr>
              <p:cNvGrpSpPr/>
              <p:nvPr/>
            </p:nvGrpSpPr>
            <p:grpSpPr>
              <a:xfrm>
                <a:off x="85395" y="6354121"/>
                <a:ext cx="267857" cy="339111"/>
                <a:chOff x="85395" y="6354121"/>
                <a:chExt cx="267857" cy="339111"/>
              </a:xfrm>
            </p:grpSpPr>
            <p:sp>
              <p:nvSpPr>
                <p:cNvPr id="1316" name="Freeform: Shape 1315">
                  <a:extLst>
                    <a:ext uri="{FF2B5EF4-FFF2-40B4-BE49-F238E27FC236}">
                      <a16:creationId xmlns:a16="http://schemas.microsoft.com/office/drawing/2014/main" id="{FAF354AE-F1B0-3819-4826-B1A575449895}"/>
                    </a:ext>
                  </a:extLst>
                </p:cNvPr>
                <p:cNvSpPr/>
                <p:nvPr/>
              </p:nvSpPr>
              <p:spPr>
                <a:xfrm>
                  <a:off x="152036" y="6354121"/>
                  <a:ext cx="171682" cy="277042"/>
                </a:xfrm>
                <a:custGeom>
                  <a:avLst/>
                  <a:gdLst>
                    <a:gd name="connsiteX0" fmla="*/ 84546 w 171682"/>
                    <a:gd name="connsiteY0" fmla="*/ 0 h 277042"/>
                    <a:gd name="connsiteX1" fmla="*/ 4706 w 171682"/>
                    <a:gd name="connsiteY1" fmla="*/ 76796 h 277042"/>
                    <a:gd name="connsiteX2" fmla="*/ 2620 w 171682"/>
                    <a:gd name="connsiteY2" fmla="*/ 95207 h 277042"/>
                    <a:gd name="connsiteX3" fmla="*/ 27332 w 171682"/>
                    <a:gd name="connsiteY3" fmla="*/ 160062 h 277042"/>
                    <a:gd name="connsiteX4" fmla="*/ 92676 w 171682"/>
                    <a:gd name="connsiteY4" fmla="*/ 247650 h 277042"/>
                    <a:gd name="connsiteX5" fmla="*/ 152636 w 171682"/>
                    <a:gd name="connsiteY5" fmla="*/ 275874 h 277042"/>
                    <a:gd name="connsiteX6" fmla="*/ 170962 w 171682"/>
                    <a:gd name="connsiteY6" fmla="*/ 259144 h 277042"/>
                    <a:gd name="connsiteX7" fmla="*/ 131862 w 171682"/>
                    <a:gd name="connsiteY7" fmla="*/ 113896 h 277042"/>
                    <a:gd name="connsiteX8" fmla="*/ 168238 w 171682"/>
                    <a:gd name="connsiteY8" fmla="*/ 30437 h 277042"/>
                    <a:gd name="connsiteX9" fmla="*/ 84546 w 171682"/>
                    <a:gd name="connsiteY9" fmla="*/ 0 h 27704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171682" h="277042">
                      <a:moveTo>
                        <a:pt x="84546" y="0"/>
                      </a:moveTo>
                      <a:lnTo>
                        <a:pt x="4706" y="76796"/>
                      </a:lnTo>
                      <a:cubicBezTo>
                        <a:pt x="-658" y="81479"/>
                        <a:pt x="-1552" y="89461"/>
                        <a:pt x="2620" y="95207"/>
                      </a:cubicBezTo>
                      <a:cubicBezTo>
                        <a:pt x="14880" y="112107"/>
                        <a:pt x="25565" y="155423"/>
                        <a:pt x="27332" y="160062"/>
                      </a:cubicBezTo>
                      <a:cubicBezTo>
                        <a:pt x="55577" y="234283"/>
                        <a:pt x="54172" y="222810"/>
                        <a:pt x="92676" y="247650"/>
                      </a:cubicBezTo>
                      <a:cubicBezTo>
                        <a:pt x="114493" y="261741"/>
                        <a:pt x="131372" y="266615"/>
                        <a:pt x="152636" y="275874"/>
                      </a:cubicBezTo>
                      <a:cubicBezTo>
                        <a:pt x="163406" y="280578"/>
                        <a:pt x="174666" y="270297"/>
                        <a:pt x="170962" y="259144"/>
                      </a:cubicBezTo>
                      <a:cubicBezTo>
                        <a:pt x="155637" y="212892"/>
                        <a:pt x="127605" y="125070"/>
                        <a:pt x="131862" y="113896"/>
                      </a:cubicBezTo>
                      <a:cubicBezTo>
                        <a:pt x="137651" y="98634"/>
                        <a:pt x="168238" y="30437"/>
                        <a:pt x="168238" y="30437"/>
                      </a:cubicBezTo>
                      <a:lnTo>
                        <a:pt x="84546" y="0"/>
                      </a:lnTo>
                      <a:close/>
                    </a:path>
                  </a:pathLst>
                </a:custGeom>
                <a:solidFill>
                  <a:srgbClr val="8B4E3D"/>
                </a:solidFill>
                <a:ln w="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GB"/>
                </a:p>
              </p:txBody>
            </p:sp>
            <p:sp>
              <p:nvSpPr>
                <p:cNvPr id="1317" name="Freeform: Shape 1316">
                  <a:extLst>
                    <a:ext uri="{FF2B5EF4-FFF2-40B4-BE49-F238E27FC236}">
                      <a16:creationId xmlns:a16="http://schemas.microsoft.com/office/drawing/2014/main" id="{9A677EC3-51ED-4E29-C22F-ADFDD78B98C0}"/>
                    </a:ext>
                  </a:extLst>
                </p:cNvPr>
                <p:cNvSpPr/>
                <p:nvPr/>
              </p:nvSpPr>
              <p:spPr>
                <a:xfrm>
                  <a:off x="85395" y="6383321"/>
                  <a:ext cx="267857" cy="309911"/>
                </a:xfrm>
                <a:custGeom>
                  <a:avLst/>
                  <a:gdLst>
                    <a:gd name="connsiteX0" fmla="*/ 230984 w 267857"/>
                    <a:gd name="connsiteY0" fmla="*/ 210532 h 309911"/>
                    <a:gd name="connsiteX1" fmla="*/ 109490 w 267857"/>
                    <a:gd name="connsiteY1" fmla="*/ 134119 h 309911"/>
                    <a:gd name="connsiteX2" fmla="*/ 120536 w 267857"/>
                    <a:gd name="connsiteY2" fmla="*/ 812 h 309911"/>
                    <a:gd name="connsiteX3" fmla="*/ 62237 w 267857"/>
                    <a:gd name="connsiteY3" fmla="*/ 62517 h 309911"/>
                    <a:gd name="connsiteX4" fmla="*/ 62237 w 267857"/>
                    <a:gd name="connsiteY4" fmla="*/ 62581 h 309911"/>
                    <a:gd name="connsiteX5" fmla="*/ 0 w 267857"/>
                    <a:gd name="connsiteY5" fmla="*/ 186629 h 309911"/>
                    <a:gd name="connsiteX6" fmla="*/ 37866 w 267857"/>
                    <a:gd name="connsiteY6" fmla="*/ 205701 h 309911"/>
                    <a:gd name="connsiteX7" fmla="*/ 64025 w 267857"/>
                    <a:gd name="connsiteY7" fmla="*/ 156937 h 309911"/>
                    <a:gd name="connsiteX8" fmla="*/ 92462 w 267857"/>
                    <a:gd name="connsiteY8" fmla="*/ 197442 h 309911"/>
                    <a:gd name="connsiteX9" fmla="*/ 95910 w 267857"/>
                    <a:gd name="connsiteY9" fmla="*/ 231051 h 309911"/>
                    <a:gd name="connsiteX10" fmla="*/ 247820 w 267857"/>
                    <a:gd name="connsiteY10" fmla="*/ 309911 h 309911"/>
                    <a:gd name="connsiteX11" fmla="*/ 265508 w 267857"/>
                    <a:gd name="connsiteY11" fmla="*/ 289521 h 309911"/>
                    <a:gd name="connsiteX12" fmla="*/ 230984 w 267857"/>
                    <a:gd name="connsiteY12" fmla="*/ 210490 h 30991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</a:cxnLst>
                  <a:rect l="l" t="t" r="r" b="b"/>
                  <a:pathLst>
                    <a:path w="267857" h="309911">
                      <a:moveTo>
                        <a:pt x="230984" y="210532"/>
                      </a:moveTo>
                      <a:cubicBezTo>
                        <a:pt x="230984" y="210532"/>
                        <a:pt x="147632" y="207808"/>
                        <a:pt x="109490" y="134119"/>
                      </a:cubicBezTo>
                      <a:cubicBezTo>
                        <a:pt x="81947" y="80907"/>
                        <a:pt x="120536" y="812"/>
                        <a:pt x="120536" y="812"/>
                      </a:cubicBezTo>
                      <a:cubicBezTo>
                        <a:pt x="116556" y="-6744"/>
                        <a:pt x="67856" y="40359"/>
                        <a:pt x="62237" y="62517"/>
                      </a:cubicBezTo>
                      <a:cubicBezTo>
                        <a:pt x="62237" y="62538"/>
                        <a:pt x="62237" y="62560"/>
                        <a:pt x="62237" y="62581"/>
                      </a:cubicBezTo>
                      <a:lnTo>
                        <a:pt x="0" y="186629"/>
                      </a:lnTo>
                      <a:lnTo>
                        <a:pt x="37866" y="205701"/>
                      </a:lnTo>
                      <a:lnTo>
                        <a:pt x="64025" y="156937"/>
                      </a:lnTo>
                      <a:cubicBezTo>
                        <a:pt x="64025" y="156937"/>
                        <a:pt x="87289" y="173305"/>
                        <a:pt x="92462" y="197442"/>
                      </a:cubicBezTo>
                      <a:cubicBezTo>
                        <a:pt x="97336" y="220217"/>
                        <a:pt x="95910" y="231051"/>
                        <a:pt x="95910" y="231051"/>
                      </a:cubicBezTo>
                      <a:lnTo>
                        <a:pt x="247820" y="309911"/>
                      </a:lnTo>
                      <a:cubicBezTo>
                        <a:pt x="247820" y="309911"/>
                        <a:pt x="257462" y="307251"/>
                        <a:pt x="265508" y="289521"/>
                      </a:cubicBezTo>
                      <a:cubicBezTo>
                        <a:pt x="278854" y="260126"/>
                        <a:pt x="230984" y="210490"/>
                        <a:pt x="230984" y="210490"/>
                      </a:cubicBezTo>
                      <a:close/>
                    </a:path>
                  </a:pathLst>
                </a:custGeom>
                <a:solidFill>
                  <a:schemeClr val="tx2"/>
                </a:solidFill>
                <a:ln w="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GB"/>
                </a:p>
              </p:txBody>
            </p:sp>
          </p:grpSp>
          <p:grpSp>
            <p:nvGrpSpPr>
              <p:cNvPr id="1318" name="Graphic 1191">
                <a:extLst>
                  <a:ext uri="{FF2B5EF4-FFF2-40B4-BE49-F238E27FC236}">
                    <a16:creationId xmlns:a16="http://schemas.microsoft.com/office/drawing/2014/main" id="{EE3D0071-22D4-218E-B997-195FAA171E0F}"/>
                  </a:ext>
                </a:extLst>
              </p:cNvPr>
              <p:cNvGrpSpPr/>
              <p:nvPr/>
            </p:nvGrpSpPr>
            <p:grpSpPr>
              <a:xfrm>
                <a:off x="449707" y="6467634"/>
                <a:ext cx="286289" cy="280343"/>
                <a:chOff x="449707" y="6467634"/>
                <a:chExt cx="286289" cy="280343"/>
              </a:xfrm>
            </p:grpSpPr>
            <p:sp>
              <p:nvSpPr>
                <p:cNvPr id="1319" name="Freeform: Shape 1318">
                  <a:extLst>
                    <a:ext uri="{FF2B5EF4-FFF2-40B4-BE49-F238E27FC236}">
                      <a16:creationId xmlns:a16="http://schemas.microsoft.com/office/drawing/2014/main" id="{7F7597CD-08D4-4385-5E2B-CE5E19E7BA18}"/>
                    </a:ext>
                  </a:extLst>
                </p:cNvPr>
                <p:cNvSpPr/>
                <p:nvPr/>
              </p:nvSpPr>
              <p:spPr>
                <a:xfrm>
                  <a:off x="457973" y="6467634"/>
                  <a:ext cx="230953" cy="243746"/>
                </a:xfrm>
                <a:custGeom>
                  <a:avLst/>
                  <a:gdLst>
                    <a:gd name="connsiteX0" fmla="*/ 42903 w 230953"/>
                    <a:gd name="connsiteY0" fmla="*/ 18624 h 243746"/>
                    <a:gd name="connsiteX1" fmla="*/ 1270 w 230953"/>
                    <a:gd name="connsiteY1" fmla="*/ 121281 h 243746"/>
                    <a:gd name="connsiteX2" fmla="*/ 6867 w 230953"/>
                    <a:gd name="connsiteY2" fmla="*/ 138948 h 243746"/>
                    <a:gd name="connsiteX3" fmla="*/ 63060 w 230953"/>
                    <a:gd name="connsiteY3" fmla="*/ 173046 h 243746"/>
                    <a:gd name="connsiteX4" fmla="*/ 151201 w 230953"/>
                    <a:gd name="connsiteY4" fmla="*/ 241478 h 243746"/>
                    <a:gd name="connsiteX5" fmla="*/ 217460 w 230953"/>
                    <a:gd name="connsiteY5" fmla="*/ 242840 h 243746"/>
                    <a:gd name="connsiteX6" fmla="*/ 227379 w 230953"/>
                    <a:gd name="connsiteY6" fmla="*/ 220086 h 243746"/>
                    <a:gd name="connsiteX7" fmla="*/ 132512 w 230953"/>
                    <a:gd name="connsiteY7" fmla="*/ 103360 h 243746"/>
                    <a:gd name="connsiteX8" fmla="*/ 118209 w 230953"/>
                    <a:gd name="connsiteY8" fmla="*/ 0 h 243746"/>
                    <a:gd name="connsiteX9" fmla="*/ 42903 w 230953"/>
                    <a:gd name="connsiteY9" fmla="*/ 18582 h 2437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230953" h="243746">
                      <a:moveTo>
                        <a:pt x="42903" y="18624"/>
                      </a:moveTo>
                      <a:lnTo>
                        <a:pt x="1270" y="121281"/>
                      </a:lnTo>
                      <a:cubicBezTo>
                        <a:pt x="-1710" y="127731"/>
                        <a:pt x="716" y="135393"/>
                        <a:pt x="6867" y="138948"/>
                      </a:cubicBezTo>
                      <a:cubicBezTo>
                        <a:pt x="24960" y="149378"/>
                        <a:pt x="59569" y="169534"/>
                        <a:pt x="63060" y="173046"/>
                      </a:cubicBezTo>
                      <a:cubicBezTo>
                        <a:pt x="119082" y="229324"/>
                        <a:pt x="105927" y="234475"/>
                        <a:pt x="151201" y="241478"/>
                      </a:cubicBezTo>
                      <a:cubicBezTo>
                        <a:pt x="176870" y="245458"/>
                        <a:pt x="194260" y="243031"/>
                        <a:pt x="217460" y="242840"/>
                      </a:cubicBezTo>
                      <a:cubicBezTo>
                        <a:pt x="229210" y="242733"/>
                        <a:pt x="235297" y="228770"/>
                        <a:pt x="227379" y="220086"/>
                      </a:cubicBezTo>
                      <a:cubicBezTo>
                        <a:pt x="194537" y="184072"/>
                        <a:pt x="133172" y="115300"/>
                        <a:pt x="132512" y="103360"/>
                      </a:cubicBezTo>
                      <a:cubicBezTo>
                        <a:pt x="131597" y="87055"/>
                        <a:pt x="118209" y="0"/>
                        <a:pt x="118209" y="0"/>
                      </a:cubicBezTo>
                      <a:lnTo>
                        <a:pt x="42903" y="18582"/>
                      </a:lnTo>
                      <a:close/>
                    </a:path>
                  </a:pathLst>
                </a:custGeom>
                <a:solidFill>
                  <a:srgbClr val="A35B47"/>
                </a:solidFill>
                <a:ln w="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GB"/>
                </a:p>
              </p:txBody>
            </p:sp>
            <p:sp>
              <p:nvSpPr>
                <p:cNvPr id="1320" name="Freeform: Shape 1319">
                  <a:extLst>
                    <a:ext uri="{FF2B5EF4-FFF2-40B4-BE49-F238E27FC236}">
                      <a16:creationId xmlns:a16="http://schemas.microsoft.com/office/drawing/2014/main" id="{B238C94B-4C3A-22D5-DCFC-97A31D0F9F6C}"/>
                    </a:ext>
                  </a:extLst>
                </p:cNvPr>
                <p:cNvSpPr/>
                <p:nvPr/>
              </p:nvSpPr>
              <p:spPr>
                <a:xfrm>
                  <a:off x="449707" y="6525832"/>
                  <a:ext cx="286289" cy="222144"/>
                </a:xfrm>
                <a:custGeom>
                  <a:avLst/>
                  <a:gdLst>
                    <a:gd name="connsiteX0" fmla="*/ 285431 w 286289"/>
                    <a:gd name="connsiteY0" fmla="*/ 204968 h 222144"/>
                    <a:gd name="connsiteX1" fmla="*/ 221704 w 286289"/>
                    <a:gd name="connsiteY1" fmla="*/ 146860 h 222144"/>
                    <a:gd name="connsiteX2" fmla="*/ 151953 w 286289"/>
                    <a:gd name="connsiteY2" fmla="*/ 154757 h 222144"/>
                    <a:gd name="connsiteX3" fmla="*/ 52531 w 286289"/>
                    <a:gd name="connsiteY3" fmla="*/ 73832 h 222144"/>
                    <a:gd name="connsiteX4" fmla="*/ 35418 w 286289"/>
                    <a:gd name="connsiteY4" fmla="*/ 313 h 222144"/>
                    <a:gd name="connsiteX5" fmla="*/ 7279 w 286289"/>
                    <a:gd name="connsiteY5" fmla="*/ 80132 h 222144"/>
                    <a:gd name="connsiteX6" fmla="*/ 0 w 286289"/>
                    <a:gd name="connsiteY6" fmla="*/ 221442 h 222144"/>
                    <a:gd name="connsiteX7" fmla="*/ 43379 w 286289"/>
                    <a:gd name="connsiteY7" fmla="*/ 221123 h 222144"/>
                    <a:gd name="connsiteX8" fmla="*/ 43613 w 286289"/>
                    <a:gd name="connsiteY8" fmla="*/ 156438 h 222144"/>
                    <a:gd name="connsiteX9" fmla="*/ 44911 w 286289"/>
                    <a:gd name="connsiteY9" fmla="*/ 157013 h 222144"/>
                    <a:gd name="connsiteX10" fmla="*/ 102061 w 286289"/>
                    <a:gd name="connsiteY10" fmla="*/ 222145 h 222144"/>
                    <a:gd name="connsiteX11" fmla="*/ 102061 w 286289"/>
                    <a:gd name="connsiteY11" fmla="*/ 222145 h 222144"/>
                    <a:gd name="connsiteX12" fmla="*/ 278045 w 286289"/>
                    <a:gd name="connsiteY12" fmla="*/ 221613 h 222144"/>
                    <a:gd name="connsiteX13" fmla="*/ 285431 w 286289"/>
                    <a:gd name="connsiteY13" fmla="*/ 204968 h 22214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</a:cxnLst>
                  <a:rect l="l" t="t" r="r" b="b"/>
                  <a:pathLst>
                    <a:path w="286289" h="222144">
                      <a:moveTo>
                        <a:pt x="285431" y="204968"/>
                      </a:moveTo>
                      <a:cubicBezTo>
                        <a:pt x="276321" y="161823"/>
                        <a:pt x="221704" y="146860"/>
                        <a:pt x="221704" y="146860"/>
                      </a:cubicBezTo>
                      <a:cubicBezTo>
                        <a:pt x="221704" y="146860"/>
                        <a:pt x="193608" y="158801"/>
                        <a:pt x="151953" y="154757"/>
                      </a:cubicBezTo>
                      <a:cubicBezTo>
                        <a:pt x="105658" y="150266"/>
                        <a:pt x="66601" y="118168"/>
                        <a:pt x="52531" y="73832"/>
                      </a:cubicBezTo>
                      <a:cubicBezTo>
                        <a:pt x="40377" y="35519"/>
                        <a:pt x="35418" y="313"/>
                        <a:pt x="35418" y="313"/>
                      </a:cubicBezTo>
                      <a:cubicBezTo>
                        <a:pt x="28735" y="-4944"/>
                        <a:pt x="3618" y="57378"/>
                        <a:pt x="7279" y="80132"/>
                      </a:cubicBezTo>
                      <a:lnTo>
                        <a:pt x="0" y="221442"/>
                      </a:lnTo>
                      <a:lnTo>
                        <a:pt x="43379" y="221123"/>
                      </a:lnTo>
                      <a:lnTo>
                        <a:pt x="43613" y="156438"/>
                      </a:lnTo>
                      <a:lnTo>
                        <a:pt x="44911" y="157013"/>
                      </a:lnTo>
                      <a:cubicBezTo>
                        <a:pt x="72539" y="169358"/>
                        <a:pt x="93398" y="193155"/>
                        <a:pt x="102061" y="222145"/>
                      </a:cubicBezTo>
                      <a:lnTo>
                        <a:pt x="102061" y="222145"/>
                      </a:lnTo>
                      <a:lnTo>
                        <a:pt x="278045" y="221613"/>
                      </a:lnTo>
                      <a:cubicBezTo>
                        <a:pt x="278045" y="221613"/>
                        <a:pt x="289454" y="224018"/>
                        <a:pt x="285431" y="204968"/>
                      </a:cubicBezTo>
                      <a:close/>
                    </a:path>
                  </a:pathLst>
                </a:custGeom>
                <a:solidFill>
                  <a:schemeClr val="tx2"/>
                </a:solidFill>
                <a:ln w="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GB"/>
                </a:p>
              </p:txBody>
            </p:sp>
          </p:grpSp>
          <p:sp>
            <p:nvSpPr>
              <p:cNvPr id="1321" name="Freeform: Shape 1320">
                <a:extLst>
                  <a:ext uri="{FF2B5EF4-FFF2-40B4-BE49-F238E27FC236}">
                    <a16:creationId xmlns:a16="http://schemas.microsoft.com/office/drawing/2014/main" id="{2DBD5FFE-3145-DDAE-CC34-432E78000982}"/>
                  </a:ext>
                </a:extLst>
              </p:cNvPr>
              <p:cNvSpPr/>
              <p:nvPr/>
            </p:nvSpPr>
            <p:spPr>
              <a:xfrm>
                <a:off x="147630" y="4367877"/>
                <a:ext cx="627807" cy="2087518"/>
              </a:xfrm>
              <a:custGeom>
                <a:avLst/>
                <a:gdLst>
                  <a:gd name="connsiteX0" fmla="*/ 476209 w 627807"/>
                  <a:gd name="connsiteY0" fmla="*/ 34886 h 2087518"/>
                  <a:gd name="connsiteX1" fmla="*/ 168408 w 627807"/>
                  <a:gd name="connsiteY1" fmla="*/ 0 h 2087518"/>
                  <a:gd name="connsiteX2" fmla="*/ 3726 w 627807"/>
                  <a:gd name="connsiteY2" fmla="*/ 497216 h 2087518"/>
                  <a:gd name="connsiteX3" fmla="*/ 114578 w 627807"/>
                  <a:gd name="connsiteY3" fmla="*/ 933110 h 2087518"/>
                  <a:gd name="connsiteX4" fmla="*/ 366762 w 627807"/>
                  <a:gd name="connsiteY4" fmla="*/ 944093 h 2087518"/>
                  <a:gd name="connsiteX5" fmla="*/ 366102 w 627807"/>
                  <a:gd name="connsiteY5" fmla="*/ 1190210 h 2087518"/>
                  <a:gd name="connsiteX6" fmla="*/ 324831 w 627807"/>
                  <a:gd name="connsiteY6" fmla="*/ 1176077 h 2087518"/>
                  <a:gd name="connsiteX7" fmla="*/ 59599 w 627807"/>
                  <a:gd name="connsiteY7" fmla="*/ 2017661 h 2087518"/>
                  <a:gd name="connsiteX8" fmla="*/ 139098 w 627807"/>
                  <a:gd name="connsiteY8" fmla="*/ 2087518 h 2087518"/>
                  <a:gd name="connsiteX9" fmla="*/ 627353 w 627807"/>
                  <a:gd name="connsiteY9" fmla="*/ 1146342 h 2087518"/>
                  <a:gd name="connsiteX10" fmla="*/ 476188 w 627807"/>
                  <a:gd name="connsiteY10" fmla="*/ 34865 h 20875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627807" h="2087518">
                    <a:moveTo>
                      <a:pt x="476209" y="34886"/>
                    </a:moveTo>
                    <a:lnTo>
                      <a:pt x="168408" y="0"/>
                    </a:lnTo>
                    <a:cubicBezTo>
                      <a:pt x="168408" y="0"/>
                      <a:pt x="-29329" y="294413"/>
                      <a:pt x="3726" y="497216"/>
                    </a:cubicBezTo>
                    <a:cubicBezTo>
                      <a:pt x="36782" y="700018"/>
                      <a:pt x="114578" y="933110"/>
                      <a:pt x="114578" y="933110"/>
                    </a:cubicBezTo>
                    <a:lnTo>
                      <a:pt x="366762" y="944093"/>
                    </a:lnTo>
                    <a:cubicBezTo>
                      <a:pt x="392900" y="1046516"/>
                      <a:pt x="347903" y="1136104"/>
                      <a:pt x="366102" y="1190210"/>
                    </a:cubicBezTo>
                    <a:cubicBezTo>
                      <a:pt x="376085" y="1219881"/>
                      <a:pt x="342923" y="1150620"/>
                      <a:pt x="324831" y="1176077"/>
                    </a:cubicBezTo>
                    <a:lnTo>
                      <a:pt x="59599" y="2017661"/>
                    </a:lnTo>
                    <a:cubicBezTo>
                      <a:pt x="66304" y="2028389"/>
                      <a:pt x="97018" y="2054250"/>
                      <a:pt x="139098" y="2087518"/>
                    </a:cubicBezTo>
                    <a:cubicBezTo>
                      <a:pt x="229048" y="1917260"/>
                      <a:pt x="625395" y="1271582"/>
                      <a:pt x="627353" y="1146342"/>
                    </a:cubicBezTo>
                    <a:cubicBezTo>
                      <a:pt x="637442" y="500962"/>
                      <a:pt x="476188" y="34865"/>
                      <a:pt x="476188" y="34865"/>
                    </a:cubicBezTo>
                    <a:close/>
                  </a:path>
                </a:pathLst>
              </a:custGeom>
              <a:solidFill>
                <a:srgbClr val="8B4E3D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1322" name="Freeform: Shape 1321">
                <a:extLst>
                  <a:ext uri="{FF2B5EF4-FFF2-40B4-BE49-F238E27FC236}">
                    <a16:creationId xmlns:a16="http://schemas.microsoft.com/office/drawing/2014/main" id="{36E98788-AC86-5A3C-964D-4C1EA2EAB92C}"/>
                  </a:ext>
                </a:extLst>
              </p:cNvPr>
              <p:cNvSpPr/>
              <p:nvPr/>
            </p:nvSpPr>
            <p:spPr>
              <a:xfrm>
                <a:off x="147039" y="4396696"/>
                <a:ext cx="462730" cy="2144178"/>
              </a:xfrm>
              <a:custGeom>
                <a:avLst/>
                <a:gdLst>
                  <a:gd name="connsiteX0" fmla="*/ 438955 w 462730"/>
                  <a:gd name="connsiteY0" fmla="*/ 2144179 h 2144178"/>
                  <a:gd name="connsiteX1" fmla="*/ 437486 w 462730"/>
                  <a:gd name="connsiteY1" fmla="*/ 1104325 h 2144178"/>
                  <a:gd name="connsiteX2" fmla="*/ 433315 w 462730"/>
                  <a:gd name="connsiteY2" fmla="*/ 970784 h 2144178"/>
                  <a:gd name="connsiteX3" fmla="*/ 402409 w 462730"/>
                  <a:gd name="connsiteY3" fmla="*/ 82607 h 2144178"/>
                  <a:gd name="connsiteX4" fmla="*/ 462730 w 462730"/>
                  <a:gd name="connsiteY4" fmla="*/ 0 h 2144178"/>
                  <a:gd name="connsiteX5" fmla="*/ 138880 w 462730"/>
                  <a:gd name="connsiteY5" fmla="*/ 12813 h 2144178"/>
                  <a:gd name="connsiteX6" fmla="*/ 4317 w 462730"/>
                  <a:gd name="connsiteY6" fmla="*/ 468374 h 2144178"/>
                  <a:gd name="connsiteX7" fmla="*/ 340193 w 462730"/>
                  <a:gd name="connsiteY7" fmla="*/ 2123213 h 2144178"/>
                  <a:gd name="connsiteX8" fmla="*/ 438955 w 462730"/>
                  <a:gd name="connsiteY8" fmla="*/ 2144157 h 21441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62730" h="2144178">
                    <a:moveTo>
                      <a:pt x="438955" y="2144179"/>
                    </a:moveTo>
                    <a:cubicBezTo>
                      <a:pt x="406112" y="1892378"/>
                      <a:pt x="464689" y="1522382"/>
                      <a:pt x="437486" y="1104325"/>
                    </a:cubicBezTo>
                    <a:cubicBezTo>
                      <a:pt x="433634" y="1045217"/>
                      <a:pt x="432187" y="1029999"/>
                      <a:pt x="433315" y="970784"/>
                    </a:cubicBezTo>
                    <a:cubicBezTo>
                      <a:pt x="436401" y="807997"/>
                      <a:pt x="438125" y="438022"/>
                      <a:pt x="402409" y="82607"/>
                    </a:cubicBezTo>
                    <a:cubicBezTo>
                      <a:pt x="398450" y="43102"/>
                      <a:pt x="427951" y="11664"/>
                      <a:pt x="462730" y="0"/>
                    </a:cubicBezTo>
                    <a:lnTo>
                      <a:pt x="138880" y="12813"/>
                    </a:lnTo>
                    <a:cubicBezTo>
                      <a:pt x="138880" y="12813"/>
                      <a:pt x="-28738" y="265593"/>
                      <a:pt x="4317" y="468374"/>
                    </a:cubicBezTo>
                    <a:cubicBezTo>
                      <a:pt x="30008" y="626053"/>
                      <a:pt x="296900" y="1759390"/>
                      <a:pt x="340193" y="2123213"/>
                    </a:cubicBezTo>
                    <a:cubicBezTo>
                      <a:pt x="383763" y="2120084"/>
                      <a:pt x="395066" y="2141603"/>
                      <a:pt x="438955" y="2144157"/>
                    </a:cubicBezTo>
                    <a:close/>
                  </a:path>
                </a:pathLst>
              </a:custGeom>
              <a:solidFill>
                <a:srgbClr val="A35B47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1323" name="Freeform: Shape 1322">
                <a:extLst>
                  <a:ext uri="{FF2B5EF4-FFF2-40B4-BE49-F238E27FC236}">
                    <a16:creationId xmlns:a16="http://schemas.microsoft.com/office/drawing/2014/main" id="{13E08C5C-64D6-1F92-8139-3569CF8A7FEA}"/>
                  </a:ext>
                </a:extLst>
              </p:cNvPr>
              <p:cNvSpPr/>
              <p:nvPr/>
            </p:nvSpPr>
            <p:spPr>
              <a:xfrm>
                <a:off x="143651" y="3638081"/>
                <a:ext cx="586977" cy="939004"/>
              </a:xfrm>
              <a:custGeom>
                <a:avLst/>
                <a:gdLst>
                  <a:gd name="connsiteX0" fmla="*/ 579418 w 586977"/>
                  <a:gd name="connsiteY0" fmla="*/ 368080 h 939004"/>
                  <a:gd name="connsiteX1" fmla="*/ 471078 w 586977"/>
                  <a:gd name="connsiteY1" fmla="*/ 40824 h 939004"/>
                  <a:gd name="connsiteX2" fmla="*/ 264125 w 586977"/>
                  <a:gd name="connsiteY2" fmla="*/ 234 h 939004"/>
                  <a:gd name="connsiteX3" fmla="*/ 136883 w 586977"/>
                  <a:gd name="connsiteY3" fmla="*/ 25925 h 939004"/>
                  <a:gd name="connsiteX4" fmla="*/ 0 w 586977"/>
                  <a:gd name="connsiteY4" fmla="*/ 115066 h 939004"/>
                  <a:gd name="connsiteX5" fmla="*/ 6556 w 586977"/>
                  <a:gd name="connsiteY5" fmla="*/ 131200 h 939004"/>
                  <a:gd name="connsiteX6" fmla="*/ 35716 w 586977"/>
                  <a:gd name="connsiteY6" fmla="*/ 310206 h 939004"/>
                  <a:gd name="connsiteX7" fmla="*/ 59278 w 586977"/>
                  <a:gd name="connsiteY7" fmla="*/ 363163 h 939004"/>
                  <a:gd name="connsiteX8" fmla="*/ 88673 w 586977"/>
                  <a:gd name="connsiteY8" fmla="*/ 432105 h 939004"/>
                  <a:gd name="connsiteX9" fmla="*/ 113449 w 586977"/>
                  <a:gd name="connsiteY9" fmla="*/ 506346 h 939004"/>
                  <a:gd name="connsiteX10" fmla="*/ 113512 w 586977"/>
                  <a:gd name="connsiteY10" fmla="*/ 506900 h 939004"/>
                  <a:gd name="connsiteX11" fmla="*/ 133967 w 586977"/>
                  <a:gd name="connsiteY11" fmla="*/ 590103 h 939004"/>
                  <a:gd name="connsiteX12" fmla="*/ 115002 w 586977"/>
                  <a:gd name="connsiteY12" fmla="*/ 817298 h 939004"/>
                  <a:gd name="connsiteX13" fmla="*/ 112555 w 586977"/>
                  <a:gd name="connsiteY13" fmla="*/ 832474 h 939004"/>
                  <a:gd name="connsiteX14" fmla="*/ 544426 w 586977"/>
                  <a:gd name="connsiteY14" fmla="*/ 928490 h 939004"/>
                  <a:gd name="connsiteX15" fmla="*/ 525035 w 586977"/>
                  <a:gd name="connsiteY15" fmla="*/ 552279 h 939004"/>
                  <a:gd name="connsiteX16" fmla="*/ 579397 w 586977"/>
                  <a:gd name="connsiteY16" fmla="*/ 368058 h 9390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586977" h="939004">
                    <a:moveTo>
                      <a:pt x="579418" y="368080"/>
                    </a:moveTo>
                    <a:cubicBezTo>
                      <a:pt x="613410" y="273170"/>
                      <a:pt x="524844" y="69580"/>
                      <a:pt x="471078" y="40824"/>
                    </a:cubicBezTo>
                    <a:cubicBezTo>
                      <a:pt x="413651" y="10110"/>
                      <a:pt x="332343" y="3043"/>
                      <a:pt x="264125" y="234"/>
                    </a:cubicBezTo>
                    <a:cubicBezTo>
                      <a:pt x="220256" y="-1576"/>
                      <a:pt x="176580" y="7130"/>
                      <a:pt x="136883" y="25925"/>
                    </a:cubicBezTo>
                    <a:cubicBezTo>
                      <a:pt x="70921" y="57171"/>
                      <a:pt x="28054" y="82841"/>
                      <a:pt x="0" y="115066"/>
                    </a:cubicBezTo>
                    <a:cubicBezTo>
                      <a:pt x="2448" y="120196"/>
                      <a:pt x="4619" y="125559"/>
                      <a:pt x="6556" y="131200"/>
                    </a:cubicBezTo>
                    <a:cubicBezTo>
                      <a:pt x="26244" y="188690"/>
                      <a:pt x="29927" y="249863"/>
                      <a:pt x="35716" y="310206"/>
                    </a:cubicBezTo>
                    <a:cubicBezTo>
                      <a:pt x="43826" y="327745"/>
                      <a:pt x="51637" y="345411"/>
                      <a:pt x="59278" y="363163"/>
                    </a:cubicBezTo>
                    <a:cubicBezTo>
                      <a:pt x="69155" y="386108"/>
                      <a:pt x="78797" y="409160"/>
                      <a:pt x="88673" y="432105"/>
                    </a:cubicBezTo>
                    <a:cubicBezTo>
                      <a:pt x="99230" y="456689"/>
                      <a:pt x="109085" y="479825"/>
                      <a:pt x="113449" y="506346"/>
                    </a:cubicBezTo>
                    <a:cubicBezTo>
                      <a:pt x="113470" y="506538"/>
                      <a:pt x="113491" y="506708"/>
                      <a:pt x="113512" y="506900"/>
                    </a:cubicBezTo>
                    <a:cubicBezTo>
                      <a:pt x="127199" y="548491"/>
                      <a:pt x="131520" y="571414"/>
                      <a:pt x="133967" y="590103"/>
                    </a:cubicBezTo>
                    <a:cubicBezTo>
                      <a:pt x="146887" y="688737"/>
                      <a:pt x="120366" y="782667"/>
                      <a:pt x="115002" y="817298"/>
                    </a:cubicBezTo>
                    <a:cubicBezTo>
                      <a:pt x="114023" y="824130"/>
                      <a:pt x="113534" y="828558"/>
                      <a:pt x="112555" y="832474"/>
                    </a:cubicBezTo>
                    <a:cubicBezTo>
                      <a:pt x="145163" y="837327"/>
                      <a:pt x="564433" y="977914"/>
                      <a:pt x="544426" y="928490"/>
                    </a:cubicBezTo>
                    <a:cubicBezTo>
                      <a:pt x="478485" y="765597"/>
                      <a:pt x="517990" y="576076"/>
                      <a:pt x="525035" y="552279"/>
                    </a:cubicBezTo>
                    <a:cubicBezTo>
                      <a:pt x="532059" y="528483"/>
                      <a:pt x="568882" y="397432"/>
                      <a:pt x="579397" y="368058"/>
                    </a:cubicBezTo>
                    <a:close/>
                  </a:path>
                </a:pathLst>
              </a:custGeom>
              <a:solidFill>
                <a:schemeClr val="accent5">
                  <a:lumMod val="60000"/>
                  <a:lumOff val="40000"/>
                </a:schemeClr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1324" name="Freeform: Shape 1323">
                <a:extLst>
                  <a:ext uri="{FF2B5EF4-FFF2-40B4-BE49-F238E27FC236}">
                    <a16:creationId xmlns:a16="http://schemas.microsoft.com/office/drawing/2014/main" id="{2C9EE3A4-2F53-9548-843E-9BEAC5CFD1F7}"/>
                  </a:ext>
                </a:extLst>
              </p:cNvPr>
              <p:cNvSpPr/>
              <p:nvPr/>
            </p:nvSpPr>
            <p:spPr>
              <a:xfrm>
                <a:off x="334805" y="3669662"/>
                <a:ext cx="160005" cy="174896"/>
              </a:xfrm>
              <a:custGeom>
                <a:avLst/>
                <a:gdLst>
                  <a:gd name="connsiteX0" fmla="*/ 109729 w 160005"/>
                  <a:gd name="connsiteY0" fmla="*/ 174840 h 174896"/>
                  <a:gd name="connsiteX1" fmla="*/ 110304 w 160005"/>
                  <a:gd name="connsiteY1" fmla="*/ 174734 h 174896"/>
                  <a:gd name="connsiteX2" fmla="*/ 112582 w 160005"/>
                  <a:gd name="connsiteY2" fmla="*/ 172392 h 174896"/>
                  <a:gd name="connsiteX3" fmla="*/ 156599 w 160005"/>
                  <a:gd name="connsiteY3" fmla="*/ 77802 h 174896"/>
                  <a:gd name="connsiteX4" fmla="*/ 159579 w 160005"/>
                  <a:gd name="connsiteY4" fmla="*/ 72523 h 174896"/>
                  <a:gd name="connsiteX5" fmla="*/ 158323 w 160005"/>
                  <a:gd name="connsiteY5" fmla="*/ 68032 h 174896"/>
                  <a:gd name="connsiteX6" fmla="*/ 153832 w 160005"/>
                  <a:gd name="connsiteY6" fmla="*/ 69288 h 174896"/>
                  <a:gd name="connsiteX7" fmla="*/ 150852 w 160005"/>
                  <a:gd name="connsiteY7" fmla="*/ 74567 h 174896"/>
                  <a:gd name="connsiteX8" fmla="*/ 107686 w 160005"/>
                  <a:gd name="connsiteY8" fmla="*/ 165368 h 174896"/>
                  <a:gd name="connsiteX9" fmla="*/ 6455 w 160005"/>
                  <a:gd name="connsiteY9" fmla="*/ 2326 h 174896"/>
                  <a:gd name="connsiteX10" fmla="*/ 2326 w 160005"/>
                  <a:gd name="connsiteY10" fmla="*/ 155 h 174896"/>
                  <a:gd name="connsiteX11" fmla="*/ 155 w 160005"/>
                  <a:gd name="connsiteY11" fmla="*/ 4284 h 174896"/>
                  <a:gd name="connsiteX12" fmla="*/ 107111 w 160005"/>
                  <a:gd name="connsiteY12" fmla="*/ 173989 h 174896"/>
                  <a:gd name="connsiteX13" fmla="*/ 109708 w 160005"/>
                  <a:gd name="connsiteY13" fmla="*/ 174883 h 1748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60005" h="174896">
                    <a:moveTo>
                      <a:pt x="109729" y="174840"/>
                    </a:moveTo>
                    <a:cubicBezTo>
                      <a:pt x="109921" y="174840"/>
                      <a:pt x="110113" y="174776"/>
                      <a:pt x="110304" y="174734"/>
                    </a:cubicBezTo>
                    <a:cubicBezTo>
                      <a:pt x="111432" y="174414"/>
                      <a:pt x="112305" y="173520"/>
                      <a:pt x="112582" y="172392"/>
                    </a:cubicBezTo>
                    <a:cubicBezTo>
                      <a:pt x="120564" y="141444"/>
                      <a:pt x="140550" y="106154"/>
                      <a:pt x="156599" y="77802"/>
                    </a:cubicBezTo>
                    <a:lnTo>
                      <a:pt x="159579" y="72523"/>
                    </a:lnTo>
                    <a:cubicBezTo>
                      <a:pt x="160473" y="70927"/>
                      <a:pt x="159919" y="68926"/>
                      <a:pt x="158323" y="68032"/>
                    </a:cubicBezTo>
                    <a:cubicBezTo>
                      <a:pt x="156727" y="67138"/>
                      <a:pt x="154726" y="67692"/>
                      <a:pt x="153832" y="69288"/>
                    </a:cubicBezTo>
                    <a:lnTo>
                      <a:pt x="150852" y="74567"/>
                    </a:lnTo>
                    <a:cubicBezTo>
                      <a:pt x="135506" y="101641"/>
                      <a:pt x="116647" y="134973"/>
                      <a:pt x="107686" y="165368"/>
                    </a:cubicBezTo>
                    <a:cubicBezTo>
                      <a:pt x="61583" y="120308"/>
                      <a:pt x="24845" y="61179"/>
                      <a:pt x="6455" y="2326"/>
                    </a:cubicBezTo>
                    <a:cubicBezTo>
                      <a:pt x="5902" y="580"/>
                      <a:pt x="4050" y="-399"/>
                      <a:pt x="2326" y="155"/>
                    </a:cubicBezTo>
                    <a:cubicBezTo>
                      <a:pt x="580" y="708"/>
                      <a:pt x="-399" y="2560"/>
                      <a:pt x="155" y="4284"/>
                    </a:cubicBezTo>
                    <a:cubicBezTo>
                      <a:pt x="19375" y="65883"/>
                      <a:pt x="58369" y="127737"/>
                      <a:pt x="107111" y="173989"/>
                    </a:cubicBezTo>
                    <a:cubicBezTo>
                      <a:pt x="107814" y="174648"/>
                      <a:pt x="108772" y="174968"/>
                      <a:pt x="109708" y="174883"/>
                    </a:cubicBezTo>
                    <a:close/>
                  </a:path>
                </a:pathLst>
              </a:custGeom>
              <a:solidFill>
                <a:schemeClr val="accent2">
                  <a:lumMod val="75000"/>
                </a:schemeClr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1325" name="Freeform: Shape 1324">
                <a:extLst>
                  <a:ext uri="{FF2B5EF4-FFF2-40B4-BE49-F238E27FC236}">
                    <a16:creationId xmlns:a16="http://schemas.microsoft.com/office/drawing/2014/main" id="{163CE6DB-891A-6032-4F2B-590B9803B985}"/>
                  </a:ext>
                </a:extLst>
              </p:cNvPr>
              <p:cNvSpPr/>
              <p:nvPr/>
            </p:nvSpPr>
            <p:spPr>
              <a:xfrm>
                <a:off x="489592" y="3653135"/>
                <a:ext cx="91225" cy="152245"/>
              </a:xfrm>
              <a:custGeom>
                <a:avLst/>
                <a:gdLst>
                  <a:gd name="connsiteX0" fmla="*/ 88144 w 91225"/>
                  <a:gd name="connsiteY0" fmla="*/ 152246 h 152245"/>
                  <a:gd name="connsiteX1" fmla="*/ 88932 w 91225"/>
                  <a:gd name="connsiteY1" fmla="*/ 152054 h 152245"/>
                  <a:gd name="connsiteX2" fmla="*/ 91103 w 91225"/>
                  <a:gd name="connsiteY2" fmla="*/ 149053 h 152245"/>
                  <a:gd name="connsiteX3" fmla="*/ 57302 w 91225"/>
                  <a:gd name="connsiteY3" fmla="*/ 1783 h 152245"/>
                  <a:gd name="connsiteX4" fmla="*/ 52854 w 91225"/>
                  <a:gd name="connsiteY4" fmla="*/ 378 h 152245"/>
                  <a:gd name="connsiteX5" fmla="*/ 51449 w 91225"/>
                  <a:gd name="connsiteY5" fmla="*/ 4826 h 152245"/>
                  <a:gd name="connsiteX6" fmla="*/ 84632 w 91225"/>
                  <a:gd name="connsiteY6" fmla="*/ 140794 h 152245"/>
                  <a:gd name="connsiteX7" fmla="*/ 31164 w 91225"/>
                  <a:gd name="connsiteY7" fmla="*/ 101226 h 152245"/>
                  <a:gd name="connsiteX8" fmla="*/ 5218 w 91225"/>
                  <a:gd name="connsiteY8" fmla="*/ 83879 h 152245"/>
                  <a:gd name="connsiteX9" fmla="*/ 621 w 91225"/>
                  <a:gd name="connsiteY9" fmla="*/ 84623 h 152245"/>
                  <a:gd name="connsiteX10" fmla="*/ 1366 w 91225"/>
                  <a:gd name="connsiteY10" fmla="*/ 89221 h 152245"/>
                  <a:gd name="connsiteX11" fmla="*/ 27589 w 91225"/>
                  <a:gd name="connsiteY11" fmla="*/ 106760 h 152245"/>
                  <a:gd name="connsiteX12" fmla="*/ 85356 w 91225"/>
                  <a:gd name="connsiteY12" fmla="*/ 151118 h 152245"/>
                  <a:gd name="connsiteX13" fmla="*/ 88166 w 91225"/>
                  <a:gd name="connsiteY13" fmla="*/ 152224 h 1522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91225" h="152245">
                    <a:moveTo>
                      <a:pt x="88144" y="152246"/>
                    </a:moveTo>
                    <a:cubicBezTo>
                      <a:pt x="88421" y="152224"/>
                      <a:pt x="88676" y="152160"/>
                      <a:pt x="88932" y="152054"/>
                    </a:cubicBezTo>
                    <a:cubicBezTo>
                      <a:pt x="90209" y="151586"/>
                      <a:pt x="91060" y="150394"/>
                      <a:pt x="91103" y="149053"/>
                    </a:cubicBezTo>
                    <a:cubicBezTo>
                      <a:pt x="92571" y="98012"/>
                      <a:pt x="80865" y="47098"/>
                      <a:pt x="57302" y="1783"/>
                    </a:cubicBezTo>
                    <a:cubicBezTo>
                      <a:pt x="56451" y="165"/>
                      <a:pt x="54471" y="-474"/>
                      <a:pt x="52854" y="378"/>
                    </a:cubicBezTo>
                    <a:cubicBezTo>
                      <a:pt x="51236" y="1229"/>
                      <a:pt x="50598" y="3209"/>
                      <a:pt x="51449" y="4826"/>
                    </a:cubicBezTo>
                    <a:cubicBezTo>
                      <a:pt x="73266" y="46736"/>
                      <a:pt x="84675" y="93584"/>
                      <a:pt x="84632" y="140794"/>
                    </a:cubicBezTo>
                    <a:cubicBezTo>
                      <a:pt x="69818" y="126172"/>
                      <a:pt x="50214" y="113507"/>
                      <a:pt x="31164" y="101226"/>
                    </a:cubicBezTo>
                    <a:cubicBezTo>
                      <a:pt x="21884" y="95223"/>
                      <a:pt x="13115" y="89562"/>
                      <a:pt x="5218" y="83879"/>
                    </a:cubicBezTo>
                    <a:cubicBezTo>
                      <a:pt x="3750" y="82814"/>
                      <a:pt x="1685" y="83133"/>
                      <a:pt x="621" y="84623"/>
                    </a:cubicBezTo>
                    <a:cubicBezTo>
                      <a:pt x="-444" y="86092"/>
                      <a:pt x="-103" y="88157"/>
                      <a:pt x="1366" y="89221"/>
                    </a:cubicBezTo>
                    <a:cubicBezTo>
                      <a:pt x="9390" y="95011"/>
                      <a:pt x="18223" y="100715"/>
                      <a:pt x="27589" y="106760"/>
                    </a:cubicBezTo>
                    <a:cubicBezTo>
                      <a:pt x="48788" y="120446"/>
                      <a:pt x="70733" y="134600"/>
                      <a:pt x="85356" y="151118"/>
                    </a:cubicBezTo>
                    <a:cubicBezTo>
                      <a:pt x="86080" y="151926"/>
                      <a:pt x="87123" y="152331"/>
                      <a:pt x="88166" y="152224"/>
                    </a:cubicBezTo>
                    <a:close/>
                  </a:path>
                </a:pathLst>
              </a:custGeom>
              <a:solidFill>
                <a:schemeClr val="accent2">
                  <a:lumMod val="75000"/>
                </a:schemeClr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1326" name="Freeform: Shape 1325">
                <a:extLst>
                  <a:ext uri="{FF2B5EF4-FFF2-40B4-BE49-F238E27FC236}">
                    <a16:creationId xmlns:a16="http://schemas.microsoft.com/office/drawing/2014/main" id="{C434481E-512C-8C13-BA42-A0CA622C72EE}"/>
                  </a:ext>
                </a:extLst>
              </p:cNvPr>
              <p:cNvSpPr/>
              <p:nvPr/>
            </p:nvSpPr>
            <p:spPr>
              <a:xfrm>
                <a:off x="239430" y="3100735"/>
                <a:ext cx="412026" cy="390711"/>
              </a:xfrm>
              <a:custGeom>
                <a:avLst/>
                <a:gdLst>
                  <a:gd name="connsiteX0" fmla="*/ 353802 w 412026"/>
                  <a:gd name="connsiteY0" fmla="*/ 31339 h 390711"/>
                  <a:gd name="connsiteX1" fmla="*/ 101384 w 412026"/>
                  <a:gd name="connsiteY1" fmla="*/ 46877 h 390711"/>
                  <a:gd name="connsiteX2" fmla="*/ 1409 w 412026"/>
                  <a:gd name="connsiteY2" fmla="*/ 244572 h 390711"/>
                  <a:gd name="connsiteX3" fmla="*/ 173880 w 412026"/>
                  <a:gd name="connsiteY3" fmla="*/ 389650 h 390711"/>
                  <a:gd name="connsiteX4" fmla="*/ 411952 w 412026"/>
                  <a:gd name="connsiteY4" fmla="*/ 178205 h 390711"/>
                  <a:gd name="connsiteX5" fmla="*/ 389773 w 412026"/>
                  <a:gd name="connsiteY5" fmla="*/ 149747 h 390711"/>
                  <a:gd name="connsiteX6" fmla="*/ 353780 w 412026"/>
                  <a:gd name="connsiteY6" fmla="*/ 31339 h 3907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12026" h="390711">
                    <a:moveTo>
                      <a:pt x="353802" y="31339"/>
                    </a:moveTo>
                    <a:cubicBezTo>
                      <a:pt x="353802" y="31339"/>
                      <a:pt x="218259" y="-48607"/>
                      <a:pt x="101384" y="46877"/>
                    </a:cubicBezTo>
                    <a:cubicBezTo>
                      <a:pt x="-19685" y="145767"/>
                      <a:pt x="1409" y="244572"/>
                      <a:pt x="1409" y="244572"/>
                    </a:cubicBezTo>
                    <a:cubicBezTo>
                      <a:pt x="1409" y="244572"/>
                      <a:pt x="45021" y="405209"/>
                      <a:pt x="173880" y="389650"/>
                    </a:cubicBezTo>
                    <a:cubicBezTo>
                      <a:pt x="423063" y="359574"/>
                      <a:pt x="411952" y="178205"/>
                      <a:pt x="411952" y="178205"/>
                    </a:cubicBezTo>
                    <a:lnTo>
                      <a:pt x="389773" y="149747"/>
                    </a:lnTo>
                    <a:lnTo>
                      <a:pt x="353780" y="31339"/>
                    </a:lnTo>
                    <a:close/>
                  </a:path>
                </a:pathLst>
              </a:custGeom>
              <a:solidFill>
                <a:schemeClr val="tx2">
                  <a:lumMod val="50000"/>
                </a:schemeClr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1327" name="Freeform: Shape 1326">
                <a:extLst>
                  <a:ext uri="{FF2B5EF4-FFF2-40B4-BE49-F238E27FC236}">
                    <a16:creationId xmlns:a16="http://schemas.microsoft.com/office/drawing/2014/main" id="{4FED7ED4-8782-5C46-7820-E8797B260E46}"/>
                  </a:ext>
                </a:extLst>
              </p:cNvPr>
              <p:cNvSpPr/>
              <p:nvPr/>
            </p:nvSpPr>
            <p:spPr>
              <a:xfrm>
                <a:off x="346177" y="3562617"/>
                <a:ext cx="174544" cy="153185"/>
              </a:xfrm>
              <a:custGeom>
                <a:avLst/>
                <a:gdLst>
                  <a:gd name="connsiteX0" fmla="*/ 174536 w 174544"/>
                  <a:gd name="connsiteY0" fmla="*/ 111924 h 153185"/>
                  <a:gd name="connsiteX1" fmla="*/ 166491 w 174544"/>
                  <a:gd name="connsiteY1" fmla="*/ 32659 h 153185"/>
                  <a:gd name="connsiteX2" fmla="*/ 120239 w 174544"/>
                  <a:gd name="connsiteY2" fmla="*/ 7926 h 153185"/>
                  <a:gd name="connsiteX3" fmla="*/ 0 w 174544"/>
                  <a:gd name="connsiteY3" fmla="*/ 82402 h 153185"/>
                  <a:gd name="connsiteX4" fmla="*/ 56873 w 174544"/>
                  <a:gd name="connsiteY4" fmla="*/ 142043 h 153185"/>
                  <a:gd name="connsiteX5" fmla="*/ 174536 w 174544"/>
                  <a:gd name="connsiteY5" fmla="*/ 111924 h 1531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74544" h="153185">
                    <a:moveTo>
                      <a:pt x="174536" y="111924"/>
                    </a:moveTo>
                    <a:lnTo>
                      <a:pt x="166491" y="32659"/>
                    </a:lnTo>
                    <a:cubicBezTo>
                      <a:pt x="166491" y="32659"/>
                      <a:pt x="129455" y="46218"/>
                      <a:pt x="120239" y="7926"/>
                    </a:cubicBezTo>
                    <a:cubicBezTo>
                      <a:pt x="111022" y="-30344"/>
                      <a:pt x="0" y="82402"/>
                      <a:pt x="0" y="82402"/>
                    </a:cubicBezTo>
                    <a:cubicBezTo>
                      <a:pt x="0" y="82402"/>
                      <a:pt x="2426" y="110796"/>
                      <a:pt x="56873" y="142043"/>
                    </a:cubicBezTo>
                    <a:cubicBezTo>
                      <a:pt x="85565" y="158517"/>
                      <a:pt x="175537" y="162710"/>
                      <a:pt x="174536" y="111924"/>
                    </a:cubicBezTo>
                    <a:close/>
                  </a:path>
                </a:pathLst>
              </a:custGeom>
              <a:solidFill>
                <a:srgbClr val="A35B47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1328" name="Freeform: Shape 1327">
                <a:extLst>
                  <a:ext uri="{FF2B5EF4-FFF2-40B4-BE49-F238E27FC236}">
                    <a16:creationId xmlns:a16="http://schemas.microsoft.com/office/drawing/2014/main" id="{5066051C-5B89-9921-FC33-E5FBACB682B9}"/>
                  </a:ext>
                </a:extLst>
              </p:cNvPr>
              <p:cNvSpPr/>
              <p:nvPr/>
            </p:nvSpPr>
            <p:spPr>
              <a:xfrm>
                <a:off x="370163" y="3109912"/>
                <a:ext cx="317195" cy="250390"/>
              </a:xfrm>
              <a:custGeom>
                <a:avLst/>
                <a:gdLst>
                  <a:gd name="connsiteX0" fmla="*/ 44446 w 317195"/>
                  <a:gd name="connsiteY0" fmla="*/ 17140 h 250390"/>
                  <a:gd name="connsiteX1" fmla="*/ 316552 w 317195"/>
                  <a:gd name="connsiteY1" fmla="*/ 107622 h 250390"/>
                  <a:gd name="connsiteX2" fmla="*/ 172879 w 317195"/>
                  <a:gd name="connsiteY2" fmla="*/ 250103 h 250390"/>
                  <a:gd name="connsiteX3" fmla="*/ 24332 w 317195"/>
                  <a:gd name="connsiteY3" fmla="*/ 82399 h 250390"/>
                  <a:gd name="connsiteX4" fmla="*/ 44446 w 317195"/>
                  <a:gd name="connsiteY4" fmla="*/ 17140 h 2503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17195" h="250390">
                    <a:moveTo>
                      <a:pt x="44446" y="17140"/>
                    </a:moveTo>
                    <a:cubicBezTo>
                      <a:pt x="44446" y="17140"/>
                      <a:pt x="289882" y="-58379"/>
                      <a:pt x="316552" y="107622"/>
                    </a:cubicBezTo>
                    <a:cubicBezTo>
                      <a:pt x="326365" y="168688"/>
                      <a:pt x="221472" y="241759"/>
                      <a:pt x="172879" y="250103"/>
                    </a:cubicBezTo>
                    <a:cubicBezTo>
                      <a:pt x="124286" y="258447"/>
                      <a:pt x="24332" y="82399"/>
                      <a:pt x="24332" y="82399"/>
                    </a:cubicBezTo>
                    <a:cubicBezTo>
                      <a:pt x="24332" y="82399"/>
                      <a:pt x="-42035" y="105706"/>
                      <a:pt x="44446" y="17140"/>
                    </a:cubicBezTo>
                    <a:close/>
                  </a:path>
                </a:pathLst>
              </a:custGeom>
              <a:solidFill>
                <a:schemeClr val="tx2">
                  <a:lumMod val="50000"/>
                </a:schemeClr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1329" name="Freeform: Shape 1328">
                <a:extLst>
                  <a:ext uri="{FF2B5EF4-FFF2-40B4-BE49-F238E27FC236}">
                    <a16:creationId xmlns:a16="http://schemas.microsoft.com/office/drawing/2014/main" id="{5F4A83B5-33C0-F7D7-8A17-F65E20E1979D}"/>
                  </a:ext>
                </a:extLst>
              </p:cNvPr>
              <p:cNvSpPr/>
              <p:nvPr/>
            </p:nvSpPr>
            <p:spPr>
              <a:xfrm>
                <a:off x="279295" y="3161575"/>
                <a:ext cx="237396" cy="327712"/>
              </a:xfrm>
              <a:custGeom>
                <a:avLst/>
                <a:gdLst>
                  <a:gd name="connsiteX0" fmla="*/ 41894 w 237396"/>
                  <a:gd name="connsiteY0" fmla="*/ 15708 h 327712"/>
                  <a:gd name="connsiteX1" fmla="*/ 31656 w 237396"/>
                  <a:gd name="connsiteY1" fmla="*/ 245479 h 327712"/>
                  <a:gd name="connsiteX2" fmla="*/ 237396 w 237396"/>
                  <a:gd name="connsiteY2" fmla="*/ 327447 h 327712"/>
                  <a:gd name="connsiteX3" fmla="*/ 183205 w 237396"/>
                  <a:gd name="connsiteY3" fmla="*/ 0 h 327712"/>
                  <a:gd name="connsiteX4" fmla="*/ 41915 w 237396"/>
                  <a:gd name="connsiteY4" fmla="*/ 15687 h 3277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37396" h="327712">
                    <a:moveTo>
                      <a:pt x="41894" y="15708"/>
                    </a:moveTo>
                    <a:cubicBezTo>
                      <a:pt x="41894" y="15708"/>
                      <a:pt x="-45119" y="154231"/>
                      <a:pt x="31656" y="245479"/>
                    </a:cubicBezTo>
                    <a:cubicBezTo>
                      <a:pt x="108431" y="336727"/>
                      <a:pt x="237396" y="327447"/>
                      <a:pt x="237396" y="327447"/>
                    </a:cubicBezTo>
                    <a:lnTo>
                      <a:pt x="183205" y="0"/>
                    </a:lnTo>
                    <a:lnTo>
                      <a:pt x="41915" y="15687"/>
                    </a:lnTo>
                    <a:close/>
                  </a:path>
                </a:pathLst>
              </a:custGeom>
              <a:solidFill>
                <a:schemeClr val="tx2">
                  <a:lumMod val="50000"/>
                </a:schemeClr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1330" name="Freeform: Shape 1329">
                <a:extLst>
                  <a:ext uri="{FF2B5EF4-FFF2-40B4-BE49-F238E27FC236}">
                    <a16:creationId xmlns:a16="http://schemas.microsoft.com/office/drawing/2014/main" id="{D929D6BE-3DFB-87DA-860B-87B2E82BC87D}"/>
                  </a:ext>
                </a:extLst>
              </p:cNvPr>
              <p:cNvSpPr/>
              <p:nvPr/>
            </p:nvSpPr>
            <p:spPr>
              <a:xfrm>
                <a:off x="315096" y="3333303"/>
                <a:ext cx="94627" cy="108700"/>
              </a:xfrm>
              <a:custGeom>
                <a:avLst/>
                <a:gdLst>
                  <a:gd name="connsiteX0" fmla="*/ 67351 w 94627"/>
                  <a:gd name="connsiteY0" fmla="*/ 28840 h 108700"/>
                  <a:gd name="connsiteX1" fmla="*/ 3155 w 94627"/>
                  <a:gd name="connsiteY1" fmla="*/ 10428 h 108700"/>
                  <a:gd name="connsiteX2" fmla="*/ 68245 w 94627"/>
                  <a:gd name="connsiteY2" fmla="*/ 108701 h 108700"/>
                  <a:gd name="connsiteX3" fmla="*/ 67372 w 94627"/>
                  <a:gd name="connsiteY3" fmla="*/ 28840 h 1087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4627" h="108700">
                    <a:moveTo>
                      <a:pt x="67351" y="28840"/>
                    </a:moveTo>
                    <a:cubicBezTo>
                      <a:pt x="67351" y="28840"/>
                      <a:pt x="16097" y="-21073"/>
                      <a:pt x="3155" y="10428"/>
                    </a:cubicBezTo>
                    <a:cubicBezTo>
                      <a:pt x="-9850" y="42058"/>
                      <a:pt x="18417" y="108701"/>
                      <a:pt x="68245" y="108701"/>
                    </a:cubicBezTo>
                    <a:cubicBezTo>
                      <a:pt x="123990" y="108701"/>
                      <a:pt x="75311" y="35693"/>
                      <a:pt x="67372" y="28840"/>
                    </a:cubicBezTo>
                    <a:close/>
                  </a:path>
                </a:pathLst>
              </a:custGeom>
              <a:solidFill>
                <a:srgbClr val="A35B47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1331" name="Freeform: Shape 1330">
                <a:extLst>
                  <a:ext uri="{FF2B5EF4-FFF2-40B4-BE49-F238E27FC236}">
                    <a16:creationId xmlns:a16="http://schemas.microsoft.com/office/drawing/2014/main" id="{837F6D39-A0E3-9C99-BCC0-B22EE59BF67E}"/>
                  </a:ext>
                </a:extLst>
              </p:cNvPr>
              <p:cNvSpPr/>
              <p:nvPr/>
            </p:nvSpPr>
            <p:spPr>
              <a:xfrm>
                <a:off x="347540" y="3329453"/>
                <a:ext cx="171045" cy="329635"/>
              </a:xfrm>
              <a:custGeom>
                <a:avLst/>
                <a:gdLst>
                  <a:gd name="connsiteX0" fmla="*/ 0 w 171045"/>
                  <a:gd name="connsiteY0" fmla="*/ 317163 h 329635"/>
                  <a:gd name="connsiteX1" fmla="*/ 171046 w 171045"/>
                  <a:gd name="connsiteY1" fmla="*/ 329635 h 329635"/>
                  <a:gd name="connsiteX2" fmla="*/ 169917 w 171045"/>
                  <a:gd name="connsiteY2" fmla="*/ 263823 h 329635"/>
                  <a:gd name="connsiteX3" fmla="*/ 162404 w 171045"/>
                  <a:gd name="connsiteY3" fmla="*/ 41906 h 329635"/>
                  <a:gd name="connsiteX4" fmla="*/ 123580 w 171045"/>
                  <a:gd name="connsiteY4" fmla="*/ 15832 h 329635"/>
                  <a:gd name="connsiteX5" fmla="*/ 81947 w 171045"/>
                  <a:gd name="connsiteY5" fmla="*/ 3359 h 329635"/>
                  <a:gd name="connsiteX6" fmla="*/ 0 w 171045"/>
                  <a:gd name="connsiteY6" fmla="*/ 317163 h 3296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71045" h="329635">
                    <a:moveTo>
                      <a:pt x="0" y="317163"/>
                    </a:moveTo>
                    <a:lnTo>
                      <a:pt x="171046" y="329635"/>
                    </a:lnTo>
                    <a:lnTo>
                      <a:pt x="169917" y="263823"/>
                    </a:lnTo>
                    <a:lnTo>
                      <a:pt x="162404" y="41906"/>
                    </a:lnTo>
                    <a:cubicBezTo>
                      <a:pt x="162404" y="41906"/>
                      <a:pt x="143248" y="27709"/>
                      <a:pt x="123580" y="15832"/>
                    </a:cubicBezTo>
                    <a:cubicBezTo>
                      <a:pt x="104232" y="4147"/>
                      <a:pt x="84437" y="-5283"/>
                      <a:pt x="81947" y="3359"/>
                    </a:cubicBezTo>
                    <a:lnTo>
                      <a:pt x="0" y="317163"/>
                    </a:lnTo>
                    <a:close/>
                  </a:path>
                </a:pathLst>
              </a:custGeom>
              <a:solidFill>
                <a:srgbClr val="A35B47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1332" name="Freeform: Shape 1331">
                <a:extLst>
                  <a:ext uri="{FF2B5EF4-FFF2-40B4-BE49-F238E27FC236}">
                    <a16:creationId xmlns:a16="http://schemas.microsoft.com/office/drawing/2014/main" id="{E48FD0C9-8B9C-637A-13D6-EEFEC4A1DA07}"/>
                  </a:ext>
                </a:extLst>
              </p:cNvPr>
              <p:cNvSpPr/>
              <p:nvPr/>
            </p:nvSpPr>
            <p:spPr>
              <a:xfrm>
                <a:off x="391376" y="3329300"/>
                <a:ext cx="125995" cy="251843"/>
              </a:xfrm>
              <a:custGeom>
                <a:avLst/>
                <a:gdLst>
                  <a:gd name="connsiteX0" fmla="*/ 3161 w 125995"/>
                  <a:gd name="connsiteY0" fmla="*/ 92291 h 251843"/>
                  <a:gd name="connsiteX1" fmla="*/ 125996 w 125995"/>
                  <a:gd name="connsiteY1" fmla="*/ 251843 h 251843"/>
                  <a:gd name="connsiteX2" fmla="*/ 116694 w 125995"/>
                  <a:gd name="connsiteY2" fmla="*/ 30863 h 251843"/>
                  <a:gd name="connsiteX3" fmla="*/ 44624 w 125995"/>
                  <a:gd name="connsiteY3" fmla="*/ 0 h 251843"/>
                  <a:gd name="connsiteX4" fmla="*/ 3182 w 125995"/>
                  <a:gd name="connsiteY4" fmla="*/ 92291 h 2518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5995" h="251843">
                    <a:moveTo>
                      <a:pt x="3161" y="92291"/>
                    </a:moveTo>
                    <a:cubicBezTo>
                      <a:pt x="-8823" y="162681"/>
                      <a:pt x="9376" y="224151"/>
                      <a:pt x="125996" y="251843"/>
                    </a:cubicBezTo>
                    <a:lnTo>
                      <a:pt x="116694" y="30863"/>
                    </a:lnTo>
                    <a:cubicBezTo>
                      <a:pt x="116694" y="30863"/>
                      <a:pt x="73188" y="13367"/>
                      <a:pt x="44624" y="0"/>
                    </a:cubicBezTo>
                    <a:cubicBezTo>
                      <a:pt x="5694" y="18156"/>
                      <a:pt x="9461" y="55383"/>
                      <a:pt x="3182" y="92291"/>
                    </a:cubicBezTo>
                    <a:close/>
                  </a:path>
                </a:pathLst>
              </a:custGeom>
              <a:solidFill>
                <a:srgbClr val="8B4E3D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1333" name="Freeform: Shape 1332">
                <a:extLst>
                  <a:ext uri="{FF2B5EF4-FFF2-40B4-BE49-F238E27FC236}">
                    <a16:creationId xmlns:a16="http://schemas.microsoft.com/office/drawing/2014/main" id="{8BF2FD8E-8BD5-3CFE-C66C-DA5A6AB07578}"/>
                  </a:ext>
                </a:extLst>
              </p:cNvPr>
              <p:cNvSpPr/>
              <p:nvPr/>
            </p:nvSpPr>
            <p:spPr>
              <a:xfrm>
                <a:off x="360296" y="3186990"/>
                <a:ext cx="249665" cy="356456"/>
              </a:xfrm>
              <a:custGeom>
                <a:avLst/>
                <a:gdLst>
                  <a:gd name="connsiteX0" fmla="*/ 244749 w 249665"/>
                  <a:gd name="connsiteY0" fmla="*/ 119451 h 356456"/>
                  <a:gd name="connsiteX1" fmla="*/ 248878 w 249665"/>
                  <a:gd name="connsiteY1" fmla="*/ 160935 h 356456"/>
                  <a:gd name="connsiteX2" fmla="*/ 248920 w 249665"/>
                  <a:gd name="connsiteY2" fmla="*/ 164681 h 356456"/>
                  <a:gd name="connsiteX3" fmla="*/ 248984 w 249665"/>
                  <a:gd name="connsiteY3" fmla="*/ 168597 h 356456"/>
                  <a:gd name="connsiteX4" fmla="*/ 249665 w 249665"/>
                  <a:gd name="connsiteY4" fmla="*/ 209890 h 356456"/>
                  <a:gd name="connsiteX5" fmla="*/ 249495 w 249665"/>
                  <a:gd name="connsiteY5" fmla="*/ 212423 h 356456"/>
                  <a:gd name="connsiteX6" fmla="*/ 248452 w 249665"/>
                  <a:gd name="connsiteY6" fmla="*/ 225662 h 356456"/>
                  <a:gd name="connsiteX7" fmla="*/ 248388 w 249665"/>
                  <a:gd name="connsiteY7" fmla="*/ 226343 h 356456"/>
                  <a:gd name="connsiteX8" fmla="*/ 200774 w 249665"/>
                  <a:gd name="connsiteY8" fmla="*/ 343155 h 356456"/>
                  <a:gd name="connsiteX9" fmla="*/ 64529 w 249665"/>
                  <a:gd name="connsiteY9" fmla="*/ 329682 h 356456"/>
                  <a:gd name="connsiteX10" fmla="*/ 23024 w 249665"/>
                  <a:gd name="connsiteY10" fmla="*/ 254780 h 356456"/>
                  <a:gd name="connsiteX11" fmla="*/ 2441 w 249665"/>
                  <a:gd name="connsiteY11" fmla="*/ 91418 h 356456"/>
                  <a:gd name="connsiteX12" fmla="*/ 244770 w 249665"/>
                  <a:gd name="connsiteY12" fmla="*/ 119451 h 3564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249665" h="356456">
                    <a:moveTo>
                      <a:pt x="244749" y="119451"/>
                    </a:moveTo>
                    <a:cubicBezTo>
                      <a:pt x="247920" y="135563"/>
                      <a:pt x="248388" y="147419"/>
                      <a:pt x="248878" y="160935"/>
                    </a:cubicBezTo>
                    <a:lnTo>
                      <a:pt x="248920" y="164681"/>
                    </a:lnTo>
                    <a:lnTo>
                      <a:pt x="248984" y="168597"/>
                    </a:lnTo>
                    <a:lnTo>
                      <a:pt x="249665" y="209890"/>
                    </a:lnTo>
                    <a:cubicBezTo>
                      <a:pt x="249602" y="210763"/>
                      <a:pt x="249559" y="211614"/>
                      <a:pt x="249495" y="212423"/>
                    </a:cubicBezTo>
                    <a:cubicBezTo>
                      <a:pt x="249155" y="217021"/>
                      <a:pt x="248814" y="221427"/>
                      <a:pt x="248452" y="225662"/>
                    </a:cubicBezTo>
                    <a:cubicBezTo>
                      <a:pt x="248452" y="225875"/>
                      <a:pt x="248410" y="226131"/>
                      <a:pt x="248388" y="226343"/>
                    </a:cubicBezTo>
                    <a:cubicBezTo>
                      <a:pt x="241662" y="300734"/>
                      <a:pt x="225337" y="326255"/>
                      <a:pt x="200774" y="343155"/>
                    </a:cubicBezTo>
                    <a:cubicBezTo>
                      <a:pt x="164505" y="368080"/>
                      <a:pt x="99160" y="354755"/>
                      <a:pt x="64529" y="329682"/>
                    </a:cubicBezTo>
                    <a:cubicBezTo>
                      <a:pt x="42797" y="313973"/>
                      <a:pt x="32432" y="280258"/>
                      <a:pt x="23024" y="254780"/>
                    </a:cubicBezTo>
                    <a:cubicBezTo>
                      <a:pt x="7528" y="212849"/>
                      <a:pt x="-5605" y="157955"/>
                      <a:pt x="2441" y="91418"/>
                    </a:cubicBezTo>
                    <a:cubicBezTo>
                      <a:pt x="14127" y="-5300"/>
                      <a:pt x="208373" y="-64153"/>
                      <a:pt x="244770" y="119451"/>
                    </a:cubicBezTo>
                    <a:close/>
                  </a:path>
                </a:pathLst>
              </a:custGeom>
              <a:solidFill>
                <a:srgbClr val="A35B47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1336" name="Freeform: Shape 1335">
                <a:extLst>
                  <a:ext uri="{FF2B5EF4-FFF2-40B4-BE49-F238E27FC236}">
                    <a16:creationId xmlns:a16="http://schemas.microsoft.com/office/drawing/2014/main" id="{9F013E31-F4F4-3202-8586-04E650F46759}"/>
                  </a:ext>
                </a:extLst>
              </p:cNvPr>
              <p:cNvSpPr/>
              <p:nvPr/>
            </p:nvSpPr>
            <p:spPr>
              <a:xfrm>
                <a:off x="333236" y="3369018"/>
                <a:ext cx="31785" cy="43748"/>
              </a:xfrm>
              <a:custGeom>
                <a:avLst/>
                <a:gdLst>
                  <a:gd name="connsiteX0" fmla="*/ 19582 w 31785"/>
                  <a:gd name="connsiteY0" fmla="*/ 43613 h 43748"/>
                  <a:gd name="connsiteX1" fmla="*/ 21349 w 31785"/>
                  <a:gd name="connsiteY1" fmla="*/ 42165 h 43748"/>
                  <a:gd name="connsiteX2" fmla="*/ 30522 w 31785"/>
                  <a:gd name="connsiteY2" fmla="*/ 25329 h 43748"/>
                  <a:gd name="connsiteX3" fmla="*/ 31714 w 31785"/>
                  <a:gd name="connsiteY3" fmla="*/ 20348 h 43748"/>
                  <a:gd name="connsiteX4" fmla="*/ 27862 w 31785"/>
                  <a:gd name="connsiteY4" fmla="*/ 15410 h 43748"/>
                  <a:gd name="connsiteX5" fmla="*/ 4682 w 31785"/>
                  <a:gd name="connsiteY5" fmla="*/ 489 h 43748"/>
                  <a:gd name="connsiteX6" fmla="*/ 489 w 31785"/>
                  <a:gd name="connsiteY6" fmla="*/ 1405 h 43748"/>
                  <a:gd name="connsiteX7" fmla="*/ 1405 w 31785"/>
                  <a:gd name="connsiteY7" fmla="*/ 5598 h 43748"/>
                  <a:gd name="connsiteX8" fmla="*/ 24584 w 31785"/>
                  <a:gd name="connsiteY8" fmla="*/ 20518 h 43748"/>
                  <a:gd name="connsiteX9" fmla="*/ 25776 w 31785"/>
                  <a:gd name="connsiteY9" fmla="*/ 21455 h 43748"/>
                  <a:gd name="connsiteX10" fmla="*/ 25201 w 31785"/>
                  <a:gd name="connsiteY10" fmla="*/ 22434 h 43748"/>
                  <a:gd name="connsiteX11" fmla="*/ 16027 w 31785"/>
                  <a:gd name="connsiteY11" fmla="*/ 39270 h 43748"/>
                  <a:gd name="connsiteX12" fmla="*/ 17241 w 31785"/>
                  <a:gd name="connsiteY12" fmla="*/ 43378 h 43748"/>
                  <a:gd name="connsiteX13" fmla="*/ 19582 w 31785"/>
                  <a:gd name="connsiteY13" fmla="*/ 43613 h 437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31785" h="43748">
                    <a:moveTo>
                      <a:pt x="19582" y="43613"/>
                    </a:moveTo>
                    <a:cubicBezTo>
                      <a:pt x="20306" y="43378"/>
                      <a:pt x="20944" y="42889"/>
                      <a:pt x="21349" y="42165"/>
                    </a:cubicBezTo>
                    <a:lnTo>
                      <a:pt x="30522" y="25329"/>
                    </a:lnTo>
                    <a:cubicBezTo>
                      <a:pt x="31097" y="24265"/>
                      <a:pt x="32055" y="22498"/>
                      <a:pt x="31714" y="20348"/>
                    </a:cubicBezTo>
                    <a:cubicBezTo>
                      <a:pt x="31267" y="17602"/>
                      <a:pt x="28969" y="16112"/>
                      <a:pt x="27862" y="15410"/>
                    </a:cubicBezTo>
                    <a:lnTo>
                      <a:pt x="4682" y="489"/>
                    </a:lnTo>
                    <a:cubicBezTo>
                      <a:pt x="3278" y="-426"/>
                      <a:pt x="1405" y="-22"/>
                      <a:pt x="489" y="1405"/>
                    </a:cubicBezTo>
                    <a:cubicBezTo>
                      <a:pt x="-426" y="2809"/>
                      <a:pt x="-22" y="4682"/>
                      <a:pt x="1405" y="5598"/>
                    </a:cubicBezTo>
                    <a:lnTo>
                      <a:pt x="24584" y="20518"/>
                    </a:lnTo>
                    <a:cubicBezTo>
                      <a:pt x="25435" y="21072"/>
                      <a:pt x="25691" y="21327"/>
                      <a:pt x="25776" y="21455"/>
                    </a:cubicBezTo>
                    <a:cubicBezTo>
                      <a:pt x="25712" y="21498"/>
                      <a:pt x="25350" y="22179"/>
                      <a:pt x="25201" y="22434"/>
                    </a:cubicBezTo>
                    <a:lnTo>
                      <a:pt x="16027" y="39270"/>
                    </a:lnTo>
                    <a:cubicBezTo>
                      <a:pt x="15218" y="40739"/>
                      <a:pt x="15772" y="42591"/>
                      <a:pt x="17241" y="43378"/>
                    </a:cubicBezTo>
                    <a:cubicBezTo>
                      <a:pt x="17985" y="43783"/>
                      <a:pt x="18837" y="43847"/>
                      <a:pt x="19582" y="43613"/>
                    </a:cubicBezTo>
                    <a:close/>
                  </a:path>
                </a:pathLst>
              </a:custGeom>
              <a:solidFill>
                <a:srgbClr val="B25E52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1341" name="Freeform: Shape 1340">
                <a:extLst>
                  <a:ext uri="{FF2B5EF4-FFF2-40B4-BE49-F238E27FC236}">
                    <a16:creationId xmlns:a16="http://schemas.microsoft.com/office/drawing/2014/main" id="{B6C02B2F-CC05-84C8-3E20-5F4E2074DF64}"/>
                  </a:ext>
                </a:extLst>
              </p:cNvPr>
              <p:cNvSpPr/>
              <p:nvPr/>
            </p:nvSpPr>
            <p:spPr>
              <a:xfrm>
                <a:off x="275197" y="3146655"/>
                <a:ext cx="237875" cy="208865"/>
              </a:xfrm>
              <a:custGeom>
                <a:avLst/>
                <a:gdLst>
                  <a:gd name="connsiteX0" fmla="*/ 108697 w 237875"/>
                  <a:gd name="connsiteY0" fmla="*/ 29118 h 208865"/>
                  <a:gd name="connsiteX1" fmla="*/ 109868 w 237875"/>
                  <a:gd name="connsiteY1" fmla="*/ 24563 h 208865"/>
                  <a:gd name="connsiteX2" fmla="*/ 8488 w 237875"/>
                  <a:gd name="connsiteY2" fmla="*/ 95356 h 208865"/>
                  <a:gd name="connsiteX3" fmla="*/ 2187 w 237875"/>
                  <a:gd name="connsiteY3" fmla="*/ 150591 h 208865"/>
                  <a:gd name="connsiteX4" fmla="*/ 64616 w 237875"/>
                  <a:gd name="connsiteY4" fmla="*/ 206762 h 208865"/>
                  <a:gd name="connsiteX5" fmla="*/ 237875 w 237875"/>
                  <a:gd name="connsiteY5" fmla="*/ 0 h 208865"/>
                  <a:gd name="connsiteX6" fmla="*/ 108697 w 237875"/>
                  <a:gd name="connsiteY6" fmla="*/ 29118 h 2088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37875" h="208865">
                    <a:moveTo>
                      <a:pt x="108697" y="29118"/>
                    </a:moveTo>
                    <a:lnTo>
                      <a:pt x="109868" y="24563"/>
                    </a:lnTo>
                    <a:lnTo>
                      <a:pt x="8488" y="95356"/>
                    </a:lnTo>
                    <a:cubicBezTo>
                      <a:pt x="8488" y="95356"/>
                      <a:pt x="-5198" y="114257"/>
                      <a:pt x="2187" y="150591"/>
                    </a:cubicBezTo>
                    <a:cubicBezTo>
                      <a:pt x="4529" y="162085"/>
                      <a:pt x="28645" y="220597"/>
                      <a:pt x="64616" y="206762"/>
                    </a:cubicBezTo>
                    <a:cubicBezTo>
                      <a:pt x="174170" y="164660"/>
                      <a:pt x="237875" y="0"/>
                      <a:pt x="237875" y="0"/>
                    </a:cubicBezTo>
                    <a:lnTo>
                      <a:pt x="108697" y="29118"/>
                    </a:lnTo>
                    <a:close/>
                  </a:path>
                </a:pathLst>
              </a:custGeom>
              <a:solidFill>
                <a:schemeClr val="tx2">
                  <a:lumMod val="50000"/>
                </a:schemeClr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1342" name="Freeform: Shape 1341">
                <a:extLst>
                  <a:ext uri="{FF2B5EF4-FFF2-40B4-BE49-F238E27FC236}">
                    <a16:creationId xmlns:a16="http://schemas.microsoft.com/office/drawing/2014/main" id="{86F316DD-8C77-5ACE-E9F0-135C438A79E1}"/>
                  </a:ext>
                </a:extLst>
              </p:cNvPr>
              <p:cNvSpPr/>
              <p:nvPr/>
            </p:nvSpPr>
            <p:spPr>
              <a:xfrm>
                <a:off x="146788" y="4455528"/>
                <a:ext cx="646595" cy="1007457"/>
              </a:xfrm>
              <a:custGeom>
                <a:avLst/>
                <a:gdLst>
                  <a:gd name="connsiteX0" fmla="*/ 110312 w 646595"/>
                  <a:gd name="connsiteY0" fmla="*/ 0 h 1007457"/>
                  <a:gd name="connsiteX1" fmla="*/ 1376 w 646595"/>
                  <a:gd name="connsiteY1" fmla="*/ 398709 h 1007457"/>
                  <a:gd name="connsiteX2" fmla="*/ 124381 w 646595"/>
                  <a:gd name="connsiteY2" fmla="*/ 1007458 h 1007457"/>
                  <a:gd name="connsiteX3" fmla="*/ 643478 w 646595"/>
                  <a:gd name="connsiteY3" fmla="*/ 951180 h 1007457"/>
                  <a:gd name="connsiteX4" fmla="*/ 537436 w 646595"/>
                  <a:gd name="connsiteY4" fmla="*/ 91674 h 1007457"/>
                  <a:gd name="connsiteX5" fmla="*/ 110312 w 646595"/>
                  <a:gd name="connsiteY5" fmla="*/ 21 h 10074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646595" h="1007457">
                    <a:moveTo>
                      <a:pt x="110312" y="0"/>
                    </a:moveTo>
                    <a:cubicBezTo>
                      <a:pt x="110312" y="0"/>
                      <a:pt x="-14375" y="209486"/>
                      <a:pt x="1376" y="398709"/>
                    </a:cubicBezTo>
                    <a:cubicBezTo>
                      <a:pt x="24300" y="673902"/>
                      <a:pt x="124381" y="1007458"/>
                      <a:pt x="124381" y="1007458"/>
                    </a:cubicBezTo>
                    <a:lnTo>
                      <a:pt x="643478" y="951180"/>
                    </a:lnTo>
                    <a:cubicBezTo>
                      <a:pt x="643478" y="951180"/>
                      <a:pt x="675022" y="339771"/>
                      <a:pt x="537436" y="91674"/>
                    </a:cubicBezTo>
                    <a:cubicBezTo>
                      <a:pt x="510511" y="43123"/>
                      <a:pt x="110312" y="21"/>
                      <a:pt x="110312" y="21"/>
                    </a:cubicBezTo>
                    <a:close/>
                  </a:path>
                </a:pathLst>
              </a:custGeom>
              <a:solidFill>
                <a:schemeClr val="accent5">
                  <a:lumMod val="60000"/>
                  <a:lumOff val="40000"/>
                </a:schemeClr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1343" name="Freeform: Shape 1342">
                <a:extLst>
                  <a:ext uri="{FF2B5EF4-FFF2-40B4-BE49-F238E27FC236}">
                    <a16:creationId xmlns:a16="http://schemas.microsoft.com/office/drawing/2014/main" id="{E218BE1E-2599-1B57-1E9E-A7087B3A3FEF}"/>
                  </a:ext>
                </a:extLst>
              </p:cNvPr>
              <p:cNvSpPr/>
              <p:nvPr/>
            </p:nvSpPr>
            <p:spPr>
              <a:xfrm rot="-373801">
                <a:off x="403004" y="3159589"/>
                <a:ext cx="96250" cy="89609"/>
              </a:xfrm>
              <a:custGeom>
                <a:avLst/>
                <a:gdLst>
                  <a:gd name="connsiteX0" fmla="*/ 96250 w 96250"/>
                  <a:gd name="connsiteY0" fmla="*/ 44805 h 89609"/>
                  <a:gd name="connsiteX1" fmla="*/ 48125 w 96250"/>
                  <a:gd name="connsiteY1" fmla="*/ 89609 h 89609"/>
                  <a:gd name="connsiteX2" fmla="*/ 0 w 96250"/>
                  <a:gd name="connsiteY2" fmla="*/ 44805 h 89609"/>
                  <a:gd name="connsiteX3" fmla="*/ 48125 w 96250"/>
                  <a:gd name="connsiteY3" fmla="*/ 0 h 89609"/>
                  <a:gd name="connsiteX4" fmla="*/ 96250 w 96250"/>
                  <a:gd name="connsiteY4" fmla="*/ 44805 h 896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96250" h="89609">
                    <a:moveTo>
                      <a:pt x="96250" y="44805"/>
                    </a:moveTo>
                    <a:cubicBezTo>
                      <a:pt x="96250" y="69550"/>
                      <a:pt x="74704" y="89609"/>
                      <a:pt x="48125" y="89609"/>
                    </a:cubicBezTo>
                    <a:cubicBezTo>
                      <a:pt x="21546" y="89609"/>
                      <a:pt x="0" y="69550"/>
                      <a:pt x="0" y="44805"/>
                    </a:cubicBezTo>
                    <a:cubicBezTo>
                      <a:pt x="0" y="20060"/>
                      <a:pt x="21546" y="0"/>
                      <a:pt x="48125" y="0"/>
                    </a:cubicBezTo>
                    <a:cubicBezTo>
                      <a:pt x="74704" y="0"/>
                      <a:pt x="96250" y="20060"/>
                      <a:pt x="96250" y="44805"/>
                    </a:cubicBezTo>
                    <a:close/>
                  </a:path>
                </a:pathLst>
              </a:custGeom>
              <a:solidFill>
                <a:schemeClr val="tx2">
                  <a:lumMod val="50000"/>
                </a:schemeClr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1344" name="Freeform: Shape 1343">
                <a:extLst>
                  <a:ext uri="{FF2B5EF4-FFF2-40B4-BE49-F238E27FC236}">
                    <a16:creationId xmlns:a16="http://schemas.microsoft.com/office/drawing/2014/main" id="{A6BE3CC2-BB90-54BE-7D88-63884A16F034}"/>
                  </a:ext>
                </a:extLst>
              </p:cNvPr>
              <p:cNvSpPr/>
              <p:nvPr/>
            </p:nvSpPr>
            <p:spPr>
              <a:xfrm>
                <a:off x="0" y="4712437"/>
                <a:ext cx="405365" cy="331280"/>
              </a:xfrm>
              <a:custGeom>
                <a:avLst/>
                <a:gdLst>
                  <a:gd name="connsiteX0" fmla="*/ 72306 w 405365"/>
                  <a:gd name="connsiteY0" fmla="*/ 0 h 331280"/>
                  <a:gd name="connsiteX1" fmla="*/ 401477 w 405365"/>
                  <a:gd name="connsiteY1" fmla="*/ 35141 h 331280"/>
                  <a:gd name="connsiteX2" fmla="*/ 388536 w 405365"/>
                  <a:gd name="connsiteY2" fmla="*/ 329661 h 331280"/>
                  <a:gd name="connsiteX3" fmla="*/ 1 w 405365"/>
                  <a:gd name="connsiteY3" fmla="*/ 287091 h 331280"/>
                  <a:gd name="connsiteX4" fmla="*/ 72306 w 405365"/>
                  <a:gd name="connsiteY4" fmla="*/ 0 h 3312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05365" h="331280">
                    <a:moveTo>
                      <a:pt x="72306" y="0"/>
                    </a:moveTo>
                    <a:cubicBezTo>
                      <a:pt x="72306" y="0"/>
                      <a:pt x="397816" y="19369"/>
                      <a:pt x="401477" y="35141"/>
                    </a:cubicBezTo>
                    <a:cubicBezTo>
                      <a:pt x="405138" y="50892"/>
                      <a:pt x="412162" y="319402"/>
                      <a:pt x="388536" y="329661"/>
                    </a:cubicBezTo>
                    <a:cubicBezTo>
                      <a:pt x="364931" y="339899"/>
                      <a:pt x="-680" y="298712"/>
                      <a:pt x="1" y="287091"/>
                    </a:cubicBezTo>
                    <a:cubicBezTo>
                      <a:pt x="682" y="275470"/>
                      <a:pt x="53511" y="6641"/>
                      <a:pt x="72306" y="0"/>
                    </a:cubicBezTo>
                    <a:close/>
                  </a:path>
                </a:pathLst>
              </a:custGeom>
              <a:solidFill>
                <a:schemeClr val="tx2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1345" name="Freeform: Shape 1344">
                <a:extLst>
                  <a:ext uri="{FF2B5EF4-FFF2-40B4-BE49-F238E27FC236}">
                    <a16:creationId xmlns:a16="http://schemas.microsoft.com/office/drawing/2014/main" id="{75AB4A00-2FC5-8BB9-12E3-6ABBD95B1246}"/>
                  </a:ext>
                </a:extLst>
              </p:cNvPr>
              <p:cNvSpPr/>
              <p:nvPr/>
            </p:nvSpPr>
            <p:spPr>
              <a:xfrm rot="-373801">
                <a:off x="369471" y="3202413"/>
                <a:ext cx="96250" cy="89609"/>
              </a:xfrm>
              <a:custGeom>
                <a:avLst/>
                <a:gdLst>
                  <a:gd name="connsiteX0" fmla="*/ 96250 w 96250"/>
                  <a:gd name="connsiteY0" fmla="*/ 44805 h 89609"/>
                  <a:gd name="connsiteX1" fmla="*/ 48125 w 96250"/>
                  <a:gd name="connsiteY1" fmla="*/ 89609 h 89609"/>
                  <a:gd name="connsiteX2" fmla="*/ 0 w 96250"/>
                  <a:gd name="connsiteY2" fmla="*/ 44805 h 89609"/>
                  <a:gd name="connsiteX3" fmla="*/ 48125 w 96250"/>
                  <a:gd name="connsiteY3" fmla="*/ 0 h 89609"/>
                  <a:gd name="connsiteX4" fmla="*/ 96250 w 96250"/>
                  <a:gd name="connsiteY4" fmla="*/ 44805 h 896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96250" h="89609">
                    <a:moveTo>
                      <a:pt x="96250" y="44805"/>
                    </a:moveTo>
                    <a:cubicBezTo>
                      <a:pt x="96250" y="69550"/>
                      <a:pt x="74704" y="89609"/>
                      <a:pt x="48125" y="89609"/>
                    </a:cubicBezTo>
                    <a:cubicBezTo>
                      <a:pt x="21546" y="89609"/>
                      <a:pt x="0" y="69550"/>
                      <a:pt x="0" y="44805"/>
                    </a:cubicBezTo>
                    <a:cubicBezTo>
                      <a:pt x="0" y="20060"/>
                      <a:pt x="21546" y="0"/>
                      <a:pt x="48125" y="0"/>
                    </a:cubicBezTo>
                    <a:cubicBezTo>
                      <a:pt x="74704" y="0"/>
                      <a:pt x="96250" y="20060"/>
                      <a:pt x="96250" y="44805"/>
                    </a:cubicBezTo>
                    <a:close/>
                  </a:path>
                </a:pathLst>
              </a:custGeom>
              <a:solidFill>
                <a:schemeClr val="tx2">
                  <a:lumMod val="50000"/>
                </a:schemeClr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1346" name="Freeform: Shape 1345">
                <a:extLst>
                  <a:ext uri="{FF2B5EF4-FFF2-40B4-BE49-F238E27FC236}">
                    <a16:creationId xmlns:a16="http://schemas.microsoft.com/office/drawing/2014/main" id="{C00E8A2E-59BA-AB98-A883-28FD5BC118DE}"/>
                  </a:ext>
                </a:extLst>
              </p:cNvPr>
              <p:cNvSpPr/>
              <p:nvPr/>
            </p:nvSpPr>
            <p:spPr>
              <a:xfrm rot="-373801">
                <a:off x="489583" y="3121661"/>
                <a:ext cx="96250" cy="89609"/>
              </a:xfrm>
              <a:custGeom>
                <a:avLst/>
                <a:gdLst>
                  <a:gd name="connsiteX0" fmla="*/ 96250 w 96250"/>
                  <a:gd name="connsiteY0" fmla="*/ 44805 h 89609"/>
                  <a:gd name="connsiteX1" fmla="*/ 48125 w 96250"/>
                  <a:gd name="connsiteY1" fmla="*/ 89609 h 89609"/>
                  <a:gd name="connsiteX2" fmla="*/ 0 w 96250"/>
                  <a:gd name="connsiteY2" fmla="*/ 44805 h 89609"/>
                  <a:gd name="connsiteX3" fmla="*/ 48125 w 96250"/>
                  <a:gd name="connsiteY3" fmla="*/ 0 h 89609"/>
                  <a:gd name="connsiteX4" fmla="*/ 96250 w 96250"/>
                  <a:gd name="connsiteY4" fmla="*/ 44805 h 896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96250" h="89609">
                    <a:moveTo>
                      <a:pt x="96250" y="44805"/>
                    </a:moveTo>
                    <a:cubicBezTo>
                      <a:pt x="96250" y="69550"/>
                      <a:pt x="74704" y="89609"/>
                      <a:pt x="48125" y="89609"/>
                    </a:cubicBezTo>
                    <a:cubicBezTo>
                      <a:pt x="21546" y="89609"/>
                      <a:pt x="0" y="69550"/>
                      <a:pt x="0" y="44805"/>
                    </a:cubicBezTo>
                    <a:cubicBezTo>
                      <a:pt x="0" y="20060"/>
                      <a:pt x="21546" y="0"/>
                      <a:pt x="48125" y="0"/>
                    </a:cubicBezTo>
                    <a:cubicBezTo>
                      <a:pt x="74704" y="0"/>
                      <a:pt x="96250" y="20060"/>
                      <a:pt x="96250" y="44805"/>
                    </a:cubicBezTo>
                    <a:close/>
                  </a:path>
                </a:pathLst>
              </a:custGeom>
              <a:solidFill>
                <a:schemeClr val="tx2">
                  <a:lumMod val="50000"/>
                </a:schemeClr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1347" name="Freeform: Shape 1346">
                <a:extLst>
                  <a:ext uri="{FF2B5EF4-FFF2-40B4-BE49-F238E27FC236}">
                    <a16:creationId xmlns:a16="http://schemas.microsoft.com/office/drawing/2014/main" id="{E602DCD0-0B5F-62B0-B99E-18AF5055F6B1}"/>
                  </a:ext>
                </a:extLst>
              </p:cNvPr>
              <p:cNvSpPr/>
              <p:nvPr/>
            </p:nvSpPr>
            <p:spPr>
              <a:xfrm>
                <a:off x="527999" y="3132256"/>
                <a:ext cx="96174" cy="89692"/>
              </a:xfrm>
              <a:custGeom>
                <a:avLst/>
                <a:gdLst>
                  <a:gd name="connsiteX0" fmla="*/ 250 w 96174"/>
                  <a:gd name="connsiteY0" fmla="*/ 50072 h 89692"/>
                  <a:gd name="connsiteX1" fmla="*/ 52951 w 96174"/>
                  <a:gd name="connsiteY1" fmla="*/ 89385 h 89692"/>
                  <a:gd name="connsiteX2" fmla="*/ 95925 w 96174"/>
                  <a:gd name="connsiteY2" fmla="*/ 39621 h 89692"/>
                  <a:gd name="connsiteX3" fmla="*/ 43224 w 96174"/>
                  <a:gd name="connsiteY3" fmla="*/ 308 h 89692"/>
                  <a:gd name="connsiteX4" fmla="*/ 250 w 96174"/>
                  <a:gd name="connsiteY4" fmla="*/ 50072 h 896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96174" h="89692">
                    <a:moveTo>
                      <a:pt x="250" y="50072"/>
                    </a:moveTo>
                    <a:cubicBezTo>
                      <a:pt x="2931" y="74677"/>
                      <a:pt x="26536" y="92258"/>
                      <a:pt x="52951" y="89385"/>
                    </a:cubicBezTo>
                    <a:cubicBezTo>
                      <a:pt x="79366" y="86490"/>
                      <a:pt x="98607" y="64226"/>
                      <a:pt x="95925" y="39621"/>
                    </a:cubicBezTo>
                    <a:cubicBezTo>
                      <a:pt x="93243" y="15015"/>
                      <a:pt x="69638" y="-2566"/>
                      <a:pt x="43224" y="308"/>
                    </a:cubicBezTo>
                    <a:cubicBezTo>
                      <a:pt x="16809" y="3202"/>
                      <a:pt x="-2432" y="25466"/>
                      <a:pt x="250" y="50072"/>
                    </a:cubicBezTo>
                    <a:close/>
                  </a:path>
                </a:pathLst>
              </a:custGeom>
              <a:solidFill>
                <a:schemeClr val="tx2">
                  <a:lumMod val="50000"/>
                </a:schemeClr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1348" name="Freeform: Shape 1347">
                <a:extLst>
                  <a:ext uri="{FF2B5EF4-FFF2-40B4-BE49-F238E27FC236}">
                    <a16:creationId xmlns:a16="http://schemas.microsoft.com/office/drawing/2014/main" id="{D57ABB6D-2D63-ABC4-9632-564E2B0149C1}"/>
                  </a:ext>
                </a:extLst>
              </p:cNvPr>
              <p:cNvSpPr/>
              <p:nvPr/>
            </p:nvSpPr>
            <p:spPr>
              <a:xfrm rot="-373801">
                <a:off x="313537" y="3253799"/>
                <a:ext cx="112214" cy="104466"/>
              </a:xfrm>
              <a:custGeom>
                <a:avLst/>
                <a:gdLst>
                  <a:gd name="connsiteX0" fmla="*/ 112214 w 112214"/>
                  <a:gd name="connsiteY0" fmla="*/ 52233 h 104466"/>
                  <a:gd name="connsiteX1" fmla="*/ 56107 w 112214"/>
                  <a:gd name="connsiteY1" fmla="*/ 104466 h 104466"/>
                  <a:gd name="connsiteX2" fmla="*/ 0 w 112214"/>
                  <a:gd name="connsiteY2" fmla="*/ 52233 h 104466"/>
                  <a:gd name="connsiteX3" fmla="*/ 56107 w 112214"/>
                  <a:gd name="connsiteY3" fmla="*/ 0 h 104466"/>
                  <a:gd name="connsiteX4" fmla="*/ 112214 w 112214"/>
                  <a:gd name="connsiteY4" fmla="*/ 52233 h 1044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12214" h="104466">
                    <a:moveTo>
                      <a:pt x="112214" y="52233"/>
                    </a:moveTo>
                    <a:cubicBezTo>
                      <a:pt x="112214" y="81081"/>
                      <a:pt x="87094" y="104466"/>
                      <a:pt x="56107" y="104466"/>
                    </a:cubicBezTo>
                    <a:cubicBezTo>
                      <a:pt x="25120" y="104466"/>
                      <a:pt x="0" y="81081"/>
                      <a:pt x="0" y="52233"/>
                    </a:cubicBezTo>
                    <a:cubicBezTo>
                      <a:pt x="0" y="23386"/>
                      <a:pt x="25120" y="0"/>
                      <a:pt x="56107" y="0"/>
                    </a:cubicBezTo>
                    <a:cubicBezTo>
                      <a:pt x="87094" y="0"/>
                      <a:pt x="112214" y="23386"/>
                      <a:pt x="112214" y="52233"/>
                    </a:cubicBezTo>
                    <a:close/>
                  </a:path>
                </a:pathLst>
              </a:custGeom>
              <a:solidFill>
                <a:schemeClr val="tx2">
                  <a:lumMod val="50000"/>
                </a:schemeClr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1349" name="Freeform: Shape 1348">
                <a:extLst>
                  <a:ext uri="{FF2B5EF4-FFF2-40B4-BE49-F238E27FC236}">
                    <a16:creationId xmlns:a16="http://schemas.microsoft.com/office/drawing/2014/main" id="{36831471-0C59-36B4-392A-13ACEC0A2734}"/>
                  </a:ext>
                </a:extLst>
              </p:cNvPr>
              <p:cNvSpPr/>
              <p:nvPr/>
            </p:nvSpPr>
            <p:spPr>
              <a:xfrm rot="-373801">
                <a:off x="180572" y="3291483"/>
                <a:ext cx="112214" cy="104466"/>
              </a:xfrm>
              <a:custGeom>
                <a:avLst/>
                <a:gdLst>
                  <a:gd name="connsiteX0" fmla="*/ 112214 w 112214"/>
                  <a:gd name="connsiteY0" fmla="*/ 52233 h 104466"/>
                  <a:gd name="connsiteX1" fmla="*/ 56107 w 112214"/>
                  <a:gd name="connsiteY1" fmla="*/ 104466 h 104466"/>
                  <a:gd name="connsiteX2" fmla="*/ 0 w 112214"/>
                  <a:gd name="connsiteY2" fmla="*/ 52233 h 104466"/>
                  <a:gd name="connsiteX3" fmla="*/ 56107 w 112214"/>
                  <a:gd name="connsiteY3" fmla="*/ 0 h 104466"/>
                  <a:gd name="connsiteX4" fmla="*/ 112214 w 112214"/>
                  <a:gd name="connsiteY4" fmla="*/ 52233 h 1044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12214" h="104466">
                    <a:moveTo>
                      <a:pt x="112214" y="52233"/>
                    </a:moveTo>
                    <a:cubicBezTo>
                      <a:pt x="112214" y="81081"/>
                      <a:pt x="87094" y="104466"/>
                      <a:pt x="56107" y="104466"/>
                    </a:cubicBezTo>
                    <a:cubicBezTo>
                      <a:pt x="25120" y="104466"/>
                      <a:pt x="0" y="81081"/>
                      <a:pt x="0" y="52233"/>
                    </a:cubicBezTo>
                    <a:cubicBezTo>
                      <a:pt x="0" y="23386"/>
                      <a:pt x="25120" y="0"/>
                      <a:pt x="56107" y="0"/>
                    </a:cubicBezTo>
                    <a:cubicBezTo>
                      <a:pt x="87094" y="0"/>
                      <a:pt x="112214" y="23386"/>
                      <a:pt x="112214" y="52233"/>
                    </a:cubicBezTo>
                    <a:close/>
                  </a:path>
                </a:pathLst>
              </a:custGeom>
              <a:solidFill>
                <a:schemeClr val="tx2">
                  <a:lumMod val="50000"/>
                </a:schemeClr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1350" name="Freeform: Shape 1349">
                <a:extLst>
                  <a:ext uri="{FF2B5EF4-FFF2-40B4-BE49-F238E27FC236}">
                    <a16:creationId xmlns:a16="http://schemas.microsoft.com/office/drawing/2014/main" id="{0A3EEB97-B0CA-8595-7BEA-9BFBA94FF189}"/>
                  </a:ext>
                </a:extLst>
              </p:cNvPr>
              <p:cNvSpPr/>
              <p:nvPr/>
            </p:nvSpPr>
            <p:spPr>
              <a:xfrm rot="-373801">
                <a:off x="259861" y="3284834"/>
                <a:ext cx="112214" cy="104466"/>
              </a:xfrm>
              <a:custGeom>
                <a:avLst/>
                <a:gdLst>
                  <a:gd name="connsiteX0" fmla="*/ 112214 w 112214"/>
                  <a:gd name="connsiteY0" fmla="*/ 52233 h 104466"/>
                  <a:gd name="connsiteX1" fmla="*/ 56107 w 112214"/>
                  <a:gd name="connsiteY1" fmla="*/ 104466 h 104466"/>
                  <a:gd name="connsiteX2" fmla="*/ 0 w 112214"/>
                  <a:gd name="connsiteY2" fmla="*/ 52233 h 104466"/>
                  <a:gd name="connsiteX3" fmla="*/ 56107 w 112214"/>
                  <a:gd name="connsiteY3" fmla="*/ 0 h 104466"/>
                  <a:gd name="connsiteX4" fmla="*/ 112214 w 112214"/>
                  <a:gd name="connsiteY4" fmla="*/ 52233 h 1044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12214" h="104466">
                    <a:moveTo>
                      <a:pt x="112214" y="52233"/>
                    </a:moveTo>
                    <a:cubicBezTo>
                      <a:pt x="112214" y="81081"/>
                      <a:pt x="87094" y="104466"/>
                      <a:pt x="56107" y="104466"/>
                    </a:cubicBezTo>
                    <a:cubicBezTo>
                      <a:pt x="25120" y="104466"/>
                      <a:pt x="0" y="81081"/>
                      <a:pt x="0" y="52233"/>
                    </a:cubicBezTo>
                    <a:cubicBezTo>
                      <a:pt x="0" y="23386"/>
                      <a:pt x="25120" y="0"/>
                      <a:pt x="56107" y="0"/>
                    </a:cubicBezTo>
                    <a:cubicBezTo>
                      <a:pt x="87094" y="0"/>
                      <a:pt x="112214" y="23386"/>
                      <a:pt x="112214" y="52233"/>
                    </a:cubicBezTo>
                    <a:close/>
                  </a:path>
                </a:pathLst>
              </a:custGeom>
              <a:solidFill>
                <a:schemeClr val="tx2">
                  <a:lumMod val="50000"/>
                </a:schemeClr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grpSp>
            <p:nvGrpSpPr>
              <p:cNvPr id="1351" name="Graphic 1191">
                <a:extLst>
                  <a:ext uri="{FF2B5EF4-FFF2-40B4-BE49-F238E27FC236}">
                    <a16:creationId xmlns:a16="http://schemas.microsoft.com/office/drawing/2014/main" id="{B6DFAD95-08BF-D14F-1FBA-54B0568AB4BD}"/>
                  </a:ext>
                </a:extLst>
              </p:cNvPr>
              <p:cNvGrpSpPr/>
              <p:nvPr/>
            </p:nvGrpSpPr>
            <p:grpSpPr>
              <a:xfrm>
                <a:off x="150124" y="4768523"/>
                <a:ext cx="124592" cy="355590"/>
                <a:chOff x="150124" y="4768523"/>
                <a:chExt cx="124592" cy="355590"/>
              </a:xfrm>
              <a:solidFill>
                <a:srgbClr val="BC7764"/>
              </a:solidFill>
            </p:grpSpPr>
            <p:sp>
              <p:nvSpPr>
                <p:cNvPr id="1352" name="Freeform: Shape 1351">
                  <a:extLst>
                    <a:ext uri="{FF2B5EF4-FFF2-40B4-BE49-F238E27FC236}">
                      <a16:creationId xmlns:a16="http://schemas.microsoft.com/office/drawing/2014/main" id="{3FBB5738-CEDB-2501-7C17-D06D4ECA6268}"/>
                    </a:ext>
                  </a:extLst>
                </p:cNvPr>
                <p:cNvSpPr/>
                <p:nvPr/>
              </p:nvSpPr>
              <p:spPr>
                <a:xfrm>
                  <a:off x="159658" y="4768523"/>
                  <a:ext cx="87693" cy="149633"/>
                </a:xfrm>
                <a:custGeom>
                  <a:avLst/>
                  <a:gdLst>
                    <a:gd name="connsiteX0" fmla="*/ 87694 w 87693"/>
                    <a:gd name="connsiteY0" fmla="*/ 136437 h 149633"/>
                    <a:gd name="connsiteX1" fmla="*/ 29607 w 87693"/>
                    <a:gd name="connsiteY1" fmla="*/ 149633 h 149633"/>
                    <a:gd name="connsiteX2" fmla="*/ 0 w 87693"/>
                    <a:gd name="connsiteY2" fmla="*/ 13197 h 149633"/>
                    <a:gd name="connsiteX3" fmla="*/ 58065 w 87693"/>
                    <a:gd name="connsiteY3" fmla="*/ 0 h 149633"/>
                    <a:gd name="connsiteX4" fmla="*/ 87694 w 87693"/>
                    <a:gd name="connsiteY4" fmla="*/ 136437 h 1496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87693" h="149633">
                      <a:moveTo>
                        <a:pt x="87694" y="136437"/>
                      </a:moveTo>
                      <a:lnTo>
                        <a:pt x="29607" y="149633"/>
                      </a:lnTo>
                      <a:lnTo>
                        <a:pt x="0" y="13197"/>
                      </a:lnTo>
                      <a:lnTo>
                        <a:pt x="58065" y="0"/>
                      </a:lnTo>
                      <a:lnTo>
                        <a:pt x="87694" y="136437"/>
                      </a:lnTo>
                      <a:close/>
                    </a:path>
                  </a:pathLst>
                </a:custGeom>
                <a:solidFill>
                  <a:srgbClr val="A35B47"/>
                </a:solidFill>
                <a:ln w="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GB"/>
                </a:p>
              </p:txBody>
            </p:sp>
            <p:grpSp>
              <p:nvGrpSpPr>
                <p:cNvPr id="1353" name="Graphic 1191">
                  <a:extLst>
                    <a:ext uri="{FF2B5EF4-FFF2-40B4-BE49-F238E27FC236}">
                      <a16:creationId xmlns:a16="http://schemas.microsoft.com/office/drawing/2014/main" id="{6B01410F-F5CD-808A-6B3D-9875631A8BF1}"/>
                    </a:ext>
                  </a:extLst>
                </p:cNvPr>
                <p:cNvGrpSpPr/>
                <p:nvPr/>
              </p:nvGrpSpPr>
              <p:grpSpPr>
                <a:xfrm>
                  <a:off x="150124" y="4825249"/>
                  <a:ext cx="124592" cy="298863"/>
                  <a:chOff x="150124" y="4825249"/>
                  <a:chExt cx="124592" cy="298863"/>
                </a:xfrm>
                <a:solidFill>
                  <a:srgbClr val="BC7764"/>
                </a:solidFill>
              </p:grpSpPr>
              <p:sp>
                <p:nvSpPr>
                  <p:cNvPr id="1354" name="Freeform: Shape 1353">
                    <a:extLst>
                      <a:ext uri="{FF2B5EF4-FFF2-40B4-BE49-F238E27FC236}">
                        <a16:creationId xmlns:a16="http://schemas.microsoft.com/office/drawing/2014/main" id="{FA59BC16-0D9F-FEA0-E450-93F8B0AC4628}"/>
                      </a:ext>
                    </a:extLst>
                  </p:cNvPr>
                  <p:cNvSpPr/>
                  <p:nvPr/>
                </p:nvSpPr>
                <p:spPr>
                  <a:xfrm>
                    <a:off x="150124" y="4825249"/>
                    <a:ext cx="109265" cy="298863"/>
                  </a:xfrm>
                  <a:custGeom>
                    <a:avLst/>
                    <a:gdLst>
                      <a:gd name="connsiteX0" fmla="*/ 62193 w 109265"/>
                      <a:gd name="connsiteY0" fmla="*/ 7831 h 298863"/>
                      <a:gd name="connsiteX1" fmla="*/ 109168 w 109265"/>
                      <a:gd name="connsiteY1" fmla="*/ 156399 h 298863"/>
                      <a:gd name="connsiteX2" fmla="*/ 67876 w 109265"/>
                      <a:gd name="connsiteY2" fmla="*/ 295454 h 298863"/>
                      <a:gd name="connsiteX3" fmla="*/ 53487 w 109265"/>
                      <a:gd name="connsiteY3" fmla="*/ 296518 h 298863"/>
                      <a:gd name="connsiteX4" fmla="*/ 31308 w 109265"/>
                      <a:gd name="connsiteY4" fmla="*/ 294326 h 298863"/>
                      <a:gd name="connsiteX5" fmla="*/ 26093 w 109265"/>
                      <a:gd name="connsiteY5" fmla="*/ 283896 h 298863"/>
                      <a:gd name="connsiteX6" fmla="*/ 10768 w 109265"/>
                      <a:gd name="connsiteY6" fmla="*/ 286493 h 298863"/>
                      <a:gd name="connsiteX7" fmla="*/ 5766 w 109265"/>
                      <a:gd name="connsiteY7" fmla="*/ 247967 h 298863"/>
                      <a:gd name="connsiteX8" fmla="*/ 13046 w 109265"/>
                      <a:gd name="connsiteY8" fmla="*/ 91119 h 298863"/>
                      <a:gd name="connsiteX9" fmla="*/ 62214 w 109265"/>
                      <a:gd name="connsiteY9" fmla="*/ 7809 h 29886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</a:cxnLst>
                    <a:rect l="l" t="t" r="r" b="b"/>
                    <a:pathLst>
                      <a:path w="109265" h="298863">
                        <a:moveTo>
                          <a:pt x="62193" y="7831"/>
                        </a:moveTo>
                        <a:cubicBezTo>
                          <a:pt x="64598" y="12173"/>
                          <a:pt x="106550" y="100569"/>
                          <a:pt x="109168" y="156399"/>
                        </a:cubicBezTo>
                        <a:cubicBezTo>
                          <a:pt x="111361" y="203247"/>
                          <a:pt x="75921" y="288536"/>
                          <a:pt x="67876" y="295454"/>
                        </a:cubicBezTo>
                        <a:cubicBezTo>
                          <a:pt x="63342" y="299349"/>
                          <a:pt x="55956" y="300179"/>
                          <a:pt x="53487" y="296518"/>
                        </a:cubicBezTo>
                        <a:cubicBezTo>
                          <a:pt x="45079" y="284151"/>
                          <a:pt x="42014" y="299838"/>
                          <a:pt x="31308" y="294326"/>
                        </a:cubicBezTo>
                        <a:cubicBezTo>
                          <a:pt x="26562" y="291878"/>
                          <a:pt x="26093" y="283896"/>
                          <a:pt x="26093" y="283896"/>
                        </a:cubicBezTo>
                        <a:cubicBezTo>
                          <a:pt x="26093" y="283896"/>
                          <a:pt x="12918" y="293027"/>
                          <a:pt x="10768" y="286493"/>
                        </a:cubicBezTo>
                        <a:cubicBezTo>
                          <a:pt x="3851" y="265634"/>
                          <a:pt x="27051" y="231003"/>
                          <a:pt x="5766" y="247967"/>
                        </a:cubicBezTo>
                        <a:cubicBezTo>
                          <a:pt x="-7963" y="258908"/>
                          <a:pt x="6256" y="139733"/>
                          <a:pt x="13046" y="91119"/>
                        </a:cubicBezTo>
                        <a:cubicBezTo>
                          <a:pt x="19836" y="42504"/>
                          <a:pt x="45377" y="-22649"/>
                          <a:pt x="62214" y="7809"/>
                        </a:cubicBezTo>
                        <a:close/>
                      </a:path>
                    </a:pathLst>
                  </a:custGeom>
                  <a:solidFill>
                    <a:srgbClr val="A35B47"/>
                  </a:solidFill>
                  <a:ln w="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GB"/>
                  </a:p>
                </p:txBody>
              </p:sp>
              <p:sp>
                <p:nvSpPr>
                  <p:cNvPr id="1355" name="Freeform: Shape 1354">
                    <a:extLst>
                      <a:ext uri="{FF2B5EF4-FFF2-40B4-BE49-F238E27FC236}">
                        <a16:creationId xmlns:a16="http://schemas.microsoft.com/office/drawing/2014/main" id="{BCBDE897-931C-C847-0DC8-1601ABAC9459}"/>
                      </a:ext>
                    </a:extLst>
                  </p:cNvPr>
                  <p:cNvSpPr/>
                  <p:nvPr/>
                </p:nvSpPr>
                <p:spPr>
                  <a:xfrm>
                    <a:off x="216052" y="4834783"/>
                    <a:ext cx="58664" cy="201236"/>
                  </a:xfrm>
                  <a:custGeom>
                    <a:avLst/>
                    <a:gdLst>
                      <a:gd name="connsiteX0" fmla="*/ 756 w 58664"/>
                      <a:gd name="connsiteY0" fmla="*/ 21 h 201236"/>
                      <a:gd name="connsiteX1" fmla="*/ 57991 w 58664"/>
                      <a:gd name="connsiteY1" fmla="*/ 119962 h 201236"/>
                      <a:gd name="connsiteX2" fmla="*/ 55713 w 58664"/>
                      <a:gd name="connsiteY2" fmla="*/ 190841 h 201236"/>
                      <a:gd name="connsiteX3" fmla="*/ 39771 w 58664"/>
                      <a:gd name="connsiteY3" fmla="*/ 188223 h 201236"/>
                      <a:gd name="connsiteX4" fmla="*/ 31214 w 58664"/>
                      <a:gd name="connsiteY4" fmla="*/ 138224 h 201236"/>
                      <a:gd name="connsiteX5" fmla="*/ 3778 w 58664"/>
                      <a:gd name="connsiteY5" fmla="*/ 70049 h 201236"/>
                      <a:gd name="connsiteX6" fmla="*/ 756 w 58664"/>
                      <a:gd name="connsiteY6" fmla="*/ 0 h 20123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58664" h="201236">
                        <a:moveTo>
                          <a:pt x="756" y="21"/>
                        </a:moveTo>
                        <a:cubicBezTo>
                          <a:pt x="756" y="21"/>
                          <a:pt x="44943" y="15921"/>
                          <a:pt x="57991" y="119962"/>
                        </a:cubicBezTo>
                        <a:cubicBezTo>
                          <a:pt x="60162" y="137245"/>
                          <a:pt x="56458" y="182795"/>
                          <a:pt x="55713" y="190841"/>
                        </a:cubicBezTo>
                        <a:cubicBezTo>
                          <a:pt x="54181" y="207677"/>
                          <a:pt x="41687" y="202058"/>
                          <a:pt x="39771" y="188223"/>
                        </a:cubicBezTo>
                        <a:cubicBezTo>
                          <a:pt x="39132" y="183646"/>
                          <a:pt x="31959" y="143631"/>
                          <a:pt x="31214" y="138224"/>
                        </a:cubicBezTo>
                        <a:cubicBezTo>
                          <a:pt x="29043" y="122857"/>
                          <a:pt x="9844" y="73603"/>
                          <a:pt x="3778" y="70049"/>
                        </a:cubicBezTo>
                        <a:cubicBezTo>
                          <a:pt x="-2267" y="66494"/>
                          <a:pt x="756" y="0"/>
                          <a:pt x="756" y="0"/>
                        </a:cubicBezTo>
                        <a:close/>
                      </a:path>
                    </a:pathLst>
                  </a:custGeom>
                  <a:solidFill>
                    <a:srgbClr val="A35B47"/>
                  </a:solidFill>
                  <a:ln w="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en-GB"/>
                  </a:p>
                </p:txBody>
              </p:sp>
            </p:grpSp>
          </p:grpSp>
          <p:sp>
            <p:nvSpPr>
              <p:cNvPr id="1356" name="Freeform: Shape 1355">
                <a:extLst>
                  <a:ext uri="{FF2B5EF4-FFF2-40B4-BE49-F238E27FC236}">
                    <a16:creationId xmlns:a16="http://schemas.microsoft.com/office/drawing/2014/main" id="{83676BC6-630F-6BEC-E1C8-C37F7ADADA5E}"/>
                  </a:ext>
                </a:extLst>
              </p:cNvPr>
              <p:cNvSpPr/>
              <p:nvPr/>
            </p:nvSpPr>
            <p:spPr>
              <a:xfrm>
                <a:off x="67298" y="3729883"/>
                <a:ext cx="224499" cy="1097939"/>
              </a:xfrm>
              <a:custGeom>
                <a:avLst/>
                <a:gdLst>
                  <a:gd name="connsiteX0" fmla="*/ 189611 w 224499"/>
                  <a:gd name="connsiteY0" fmla="*/ 52042 h 1097939"/>
                  <a:gd name="connsiteX1" fmla="*/ 149850 w 224499"/>
                  <a:gd name="connsiteY1" fmla="*/ 34418 h 1097939"/>
                  <a:gd name="connsiteX2" fmla="*/ 104003 w 224499"/>
                  <a:gd name="connsiteY2" fmla="*/ 0 h 1097939"/>
                  <a:gd name="connsiteX3" fmla="*/ 27398 w 224499"/>
                  <a:gd name="connsiteY3" fmla="*/ 114939 h 1097939"/>
                  <a:gd name="connsiteX4" fmla="*/ 58879 w 224499"/>
                  <a:gd name="connsiteY4" fmla="*/ 966591 h 1097939"/>
                  <a:gd name="connsiteX5" fmla="*/ 82292 w 224499"/>
                  <a:gd name="connsiteY5" fmla="*/ 1056605 h 1097939"/>
                  <a:gd name="connsiteX6" fmla="*/ 90657 w 224499"/>
                  <a:gd name="connsiteY6" fmla="*/ 1097940 h 1097939"/>
                  <a:gd name="connsiteX7" fmla="*/ 161259 w 224499"/>
                  <a:gd name="connsiteY7" fmla="*/ 1080103 h 1097939"/>
                  <a:gd name="connsiteX8" fmla="*/ 190760 w 224499"/>
                  <a:gd name="connsiteY8" fmla="*/ 309270 h 1097939"/>
                  <a:gd name="connsiteX9" fmla="*/ 193208 w 224499"/>
                  <a:gd name="connsiteY9" fmla="*/ 310441 h 1097939"/>
                  <a:gd name="connsiteX10" fmla="*/ 196294 w 224499"/>
                  <a:gd name="connsiteY10" fmla="*/ 63536 h 1097939"/>
                  <a:gd name="connsiteX11" fmla="*/ 189653 w 224499"/>
                  <a:gd name="connsiteY11" fmla="*/ 52063 h 10979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224499" h="1097939">
                    <a:moveTo>
                      <a:pt x="189611" y="52042"/>
                    </a:moveTo>
                    <a:cubicBezTo>
                      <a:pt x="176180" y="46678"/>
                      <a:pt x="162856" y="41037"/>
                      <a:pt x="149850" y="34418"/>
                    </a:cubicBezTo>
                    <a:cubicBezTo>
                      <a:pt x="132886" y="25776"/>
                      <a:pt x="117242" y="14069"/>
                      <a:pt x="104003" y="0"/>
                    </a:cubicBezTo>
                    <a:cubicBezTo>
                      <a:pt x="61986" y="30118"/>
                      <a:pt x="39956" y="63387"/>
                      <a:pt x="27398" y="114939"/>
                    </a:cubicBezTo>
                    <a:cubicBezTo>
                      <a:pt x="-8786" y="263358"/>
                      <a:pt x="-18960" y="673285"/>
                      <a:pt x="58879" y="966591"/>
                    </a:cubicBezTo>
                    <a:cubicBezTo>
                      <a:pt x="68606" y="1003243"/>
                      <a:pt x="77354" y="1032574"/>
                      <a:pt x="82292" y="1056605"/>
                    </a:cubicBezTo>
                    <a:cubicBezTo>
                      <a:pt x="85336" y="1071419"/>
                      <a:pt x="90657" y="1097940"/>
                      <a:pt x="90657" y="1097940"/>
                    </a:cubicBezTo>
                    <a:lnTo>
                      <a:pt x="161259" y="1080103"/>
                    </a:lnTo>
                    <a:cubicBezTo>
                      <a:pt x="161259" y="1080103"/>
                      <a:pt x="124394" y="422719"/>
                      <a:pt x="190760" y="309270"/>
                    </a:cubicBezTo>
                    <a:cubicBezTo>
                      <a:pt x="204276" y="286176"/>
                      <a:pt x="257978" y="304757"/>
                      <a:pt x="193208" y="310441"/>
                    </a:cubicBezTo>
                    <a:cubicBezTo>
                      <a:pt x="204233" y="228387"/>
                      <a:pt x="202509" y="145844"/>
                      <a:pt x="196294" y="63536"/>
                    </a:cubicBezTo>
                    <a:cubicBezTo>
                      <a:pt x="194081" y="59704"/>
                      <a:pt x="191867" y="55873"/>
                      <a:pt x="189653" y="52063"/>
                    </a:cubicBezTo>
                    <a:close/>
                  </a:path>
                </a:pathLst>
              </a:custGeom>
              <a:solidFill>
                <a:schemeClr val="accent5">
                  <a:lumMod val="60000"/>
                  <a:lumOff val="40000"/>
                </a:schemeClr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1359" name="Freeform: Shape 1358">
                <a:extLst>
                  <a:ext uri="{FF2B5EF4-FFF2-40B4-BE49-F238E27FC236}">
                    <a16:creationId xmlns:a16="http://schemas.microsoft.com/office/drawing/2014/main" id="{86ECEB93-DAED-D9BB-ACFF-0AFFF0BBD751}"/>
                  </a:ext>
                </a:extLst>
              </p:cNvPr>
              <p:cNvSpPr/>
              <p:nvPr/>
            </p:nvSpPr>
            <p:spPr>
              <a:xfrm>
                <a:off x="491402" y="3745035"/>
                <a:ext cx="158966" cy="1683617"/>
              </a:xfrm>
              <a:custGeom>
                <a:avLst/>
                <a:gdLst>
                  <a:gd name="connsiteX0" fmla="*/ 155318 w 158966"/>
                  <a:gd name="connsiteY0" fmla="*/ 1683618 h 1683617"/>
                  <a:gd name="connsiteX1" fmla="*/ 151721 w 158966"/>
                  <a:gd name="connsiteY1" fmla="*/ 1680446 h 1683617"/>
                  <a:gd name="connsiteX2" fmla="*/ 74137 w 158966"/>
                  <a:gd name="connsiteY2" fmla="*/ 492876 h 1683617"/>
                  <a:gd name="connsiteX3" fmla="*/ 662 w 158966"/>
                  <a:gd name="connsiteY3" fmla="*/ 5728 h 1683617"/>
                  <a:gd name="connsiteX4" fmla="*/ 1535 w 158966"/>
                  <a:gd name="connsiteY4" fmla="*/ 662 h 1683617"/>
                  <a:gd name="connsiteX5" fmla="*/ 6600 w 158966"/>
                  <a:gd name="connsiteY5" fmla="*/ 1535 h 1683617"/>
                  <a:gd name="connsiteX6" fmla="*/ 54853 w 158966"/>
                  <a:gd name="connsiteY6" fmla="*/ 118474 h 1683617"/>
                  <a:gd name="connsiteX7" fmla="*/ 81374 w 158966"/>
                  <a:gd name="connsiteY7" fmla="*/ 493472 h 1683617"/>
                  <a:gd name="connsiteX8" fmla="*/ 158937 w 158966"/>
                  <a:gd name="connsiteY8" fmla="*/ 1679531 h 1683617"/>
                  <a:gd name="connsiteX9" fmla="*/ 155786 w 158966"/>
                  <a:gd name="connsiteY9" fmla="*/ 1683596 h 1683617"/>
                  <a:gd name="connsiteX10" fmla="*/ 155318 w 158966"/>
                  <a:gd name="connsiteY10" fmla="*/ 1683618 h 16836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158966" h="1683617">
                    <a:moveTo>
                      <a:pt x="155318" y="1683618"/>
                    </a:moveTo>
                    <a:cubicBezTo>
                      <a:pt x="153509" y="1683618"/>
                      <a:pt x="151955" y="1682277"/>
                      <a:pt x="151721" y="1680446"/>
                    </a:cubicBezTo>
                    <a:cubicBezTo>
                      <a:pt x="150657" y="1672018"/>
                      <a:pt x="45999" y="833221"/>
                      <a:pt x="74137" y="492876"/>
                    </a:cubicBezTo>
                    <a:cubicBezTo>
                      <a:pt x="102148" y="154211"/>
                      <a:pt x="1684" y="7175"/>
                      <a:pt x="662" y="5728"/>
                    </a:cubicBezTo>
                    <a:cubicBezTo>
                      <a:pt x="-487" y="4089"/>
                      <a:pt x="-104" y="1811"/>
                      <a:pt x="1535" y="662"/>
                    </a:cubicBezTo>
                    <a:cubicBezTo>
                      <a:pt x="3174" y="-487"/>
                      <a:pt x="5451" y="-104"/>
                      <a:pt x="6600" y="1535"/>
                    </a:cubicBezTo>
                    <a:cubicBezTo>
                      <a:pt x="7665" y="3046"/>
                      <a:pt x="32866" y="39379"/>
                      <a:pt x="54853" y="118474"/>
                    </a:cubicBezTo>
                    <a:cubicBezTo>
                      <a:pt x="75074" y="191205"/>
                      <a:pt x="96103" y="315296"/>
                      <a:pt x="81374" y="493472"/>
                    </a:cubicBezTo>
                    <a:cubicBezTo>
                      <a:pt x="53278" y="833051"/>
                      <a:pt x="157872" y="1671102"/>
                      <a:pt x="158937" y="1679531"/>
                    </a:cubicBezTo>
                    <a:cubicBezTo>
                      <a:pt x="159192" y="1681532"/>
                      <a:pt x="157766" y="1683341"/>
                      <a:pt x="155786" y="1683596"/>
                    </a:cubicBezTo>
                    <a:cubicBezTo>
                      <a:pt x="155637" y="1683596"/>
                      <a:pt x="155488" y="1683618"/>
                      <a:pt x="155318" y="1683618"/>
                    </a:cubicBezTo>
                    <a:close/>
                  </a:path>
                </a:pathLst>
              </a:custGeom>
              <a:solidFill>
                <a:schemeClr val="accent2">
                  <a:lumMod val="75000"/>
                </a:schemeClr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1360" name="Freeform: Shape 1359">
                <a:extLst>
                  <a:ext uri="{FF2B5EF4-FFF2-40B4-BE49-F238E27FC236}">
                    <a16:creationId xmlns:a16="http://schemas.microsoft.com/office/drawing/2014/main" id="{3F3A77B1-3BFA-C1A1-D458-BF565EB0C0BA}"/>
                  </a:ext>
                </a:extLst>
              </p:cNvPr>
              <p:cNvSpPr/>
              <p:nvPr/>
            </p:nvSpPr>
            <p:spPr>
              <a:xfrm>
                <a:off x="174876" y="3684911"/>
                <a:ext cx="226099" cy="1321215"/>
              </a:xfrm>
              <a:custGeom>
                <a:avLst/>
                <a:gdLst>
                  <a:gd name="connsiteX0" fmla="*/ 177091 w 226099"/>
                  <a:gd name="connsiteY0" fmla="*/ 1321215 h 1321215"/>
                  <a:gd name="connsiteX1" fmla="*/ 202952 w 226099"/>
                  <a:gd name="connsiteY1" fmla="*/ 269506 h 1321215"/>
                  <a:gd name="connsiteX2" fmla="*/ 103934 w 226099"/>
                  <a:gd name="connsiteY2" fmla="*/ 34734 h 1321215"/>
                  <a:gd name="connsiteX3" fmla="*/ 29096 w 226099"/>
                  <a:gd name="connsiteY3" fmla="*/ 784 h 1321215"/>
                  <a:gd name="connsiteX4" fmla="*/ 0 w 226099"/>
                  <a:gd name="connsiteY4" fmla="*/ 38310 h 13212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26099" h="1321215">
                    <a:moveTo>
                      <a:pt x="177091" y="1321215"/>
                    </a:moveTo>
                    <a:cubicBezTo>
                      <a:pt x="218468" y="1111772"/>
                      <a:pt x="249268" y="450003"/>
                      <a:pt x="202952" y="269506"/>
                    </a:cubicBezTo>
                    <a:cubicBezTo>
                      <a:pt x="180581" y="184856"/>
                      <a:pt x="156636" y="108188"/>
                      <a:pt x="103934" y="34734"/>
                    </a:cubicBezTo>
                    <a:cubicBezTo>
                      <a:pt x="86374" y="10767"/>
                      <a:pt x="57618" y="-3600"/>
                      <a:pt x="29096" y="784"/>
                    </a:cubicBezTo>
                    <a:cubicBezTo>
                      <a:pt x="29096" y="784"/>
                      <a:pt x="1277" y="10724"/>
                      <a:pt x="0" y="38310"/>
                    </a:cubicBezTo>
                  </a:path>
                </a:pathLst>
              </a:custGeom>
              <a:noFill/>
              <a:ln w="12700" cap="flat">
                <a:solidFill>
                  <a:schemeClr val="tx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</p:grpSp>
      </p:grpSp>
      <p:pic>
        <p:nvPicPr>
          <p:cNvPr id="2" name="Graphic 1">
            <a:extLst>
              <a:ext uri="{FF2B5EF4-FFF2-40B4-BE49-F238E27FC236}">
                <a16:creationId xmlns:a16="http://schemas.microsoft.com/office/drawing/2014/main" id="{BE8FAC00-62F3-ACB8-2EBB-E99F03530A37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5571957" y="8690610"/>
            <a:ext cx="1053391" cy="237186"/>
          </a:xfrm>
          <a:prstGeom prst="rect">
            <a:avLst/>
          </a:prstGeom>
        </p:spPr>
      </p:pic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E62BDFAB-EB48-6CF1-1C90-34698768CCB7}"/>
              </a:ext>
            </a:extLst>
          </p:cNvPr>
          <p:cNvSpPr/>
          <p:nvPr/>
        </p:nvSpPr>
        <p:spPr>
          <a:xfrm>
            <a:off x="4639863" y="1518974"/>
            <a:ext cx="2014358" cy="934875"/>
          </a:xfrm>
          <a:custGeom>
            <a:avLst/>
            <a:gdLst>
              <a:gd name="connsiteX0" fmla="*/ 0 w 2014358"/>
              <a:gd name="connsiteY0" fmla="*/ 130097 h 934875"/>
              <a:gd name="connsiteX1" fmla="*/ 130097 w 2014358"/>
              <a:gd name="connsiteY1" fmla="*/ 0 h 934875"/>
              <a:gd name="connsiteX2" fmla="*/ 662193 w 2014358"/>
              <a:gd name="connsiteY2" fmla="*/ 0 h 934875"/>
              <a:gd name="connsiteX3" fmla="*/ 1246915 w 2014358"/>
              <a:gd name="connsiteY3" fmla="*/ 0 h 934875"/>
              <a:gd name="connsiteX4" fmla="*/ 1884261 w 2014358"/>
              <a:gd name="connsiteY4" fmla="*/ 0 h 934875"/>
              <a:gd name="connsiteX5" fmla="*/ 2014358 w 2014358"/>
              <a:gd name="connsiteY5" fmla="*/ 130097 h 934875"/>
              <a:gd name="connsiteX6" fmla="*/ 2014358 w 2014358"/>
              <a:gd name="connsiteY6" fmla="*/ 804778 h 934875"/>
              <a:gd name="connsiteX7" fmla="*/ 1884261 w 2014358"/>
              <a:gd name="connsiteY7" fmla="*/ 934875 h 934875"/>
              <a:gd name="connsiteX8" fmla="*/ 1352165 w 2014358"/>
              <a:gd name="connsiteY8" fmla="*/ 934875 h 934875"/>
              <a:gd name="connsiteX9" fmla="*/ 767443 w 2014358"/>
              <a:gd name="connsiteY9" fmla="*/ 934875 h 934875"/>
              <a:gd name="connsiteX10" fmla="*/ 130097 w 2014358"/>
              <a:gd name="connsiteY10" fmla="*/ 934875 h 934875"/>
              <a:gd name="connsiteX11" fmla="*/ 0 w 2014358"/>
              <a:gd name="connsiteY11" fmla="*/ 804778 h 934875"/>
              <a:gd name="connsiteX12" fmla="*/ 0 w 2014358"/>
              <a:gd name="connsiteY12" fmla="*/ 130097 h 934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014358" h="934875" extrusionOk="0">
                <a:moveTo>
                  <a:pt x="0" y="130097"/>
                </a:moveTo>
                <a:cubicBezTo>
                  <a:pt x="-2405" y="60632"/>
                  <a:pt x="58765" y="-5326"/>
                  <a:pt x="130097" y="0"/>
                </a:cubicBezTo>
                <a:cubicBezTo>
                  <a:pt x="320566" y="-569"/>
                  <a:pt x="434372" y="11745"/>
                  <a:pt x="662193" y="0"/>
                </a:cubicBezTo>
                <a:cubicBezTo>
                  <a:pt x="890014" y="-11745"/>
                  <a:pt x="975247" y="28585"/>
                  <a:pt x="1246915" y="0"/>
                </a:cubicBezTo>
                <a:cubicBezTo>
                  <a:pt x="1518583" y="-28585"/>
                  <a:pt x="1673960" y="-509"/>
                  <a:pt x="1884261" y="0"/>
                </a:cubicBezTo>
                <a:cubicBezTo>
                  <a:pt x="1957900" y="1149"/>
                  <a:pt x="2012608" y="60885"/>
                  <a:pt x="2014358" y="130097"/>
                </a:cubicBezTo>
                <a:cubicBezTo>
                  <a:pt x="1984736" y="446597"/>
                  <a:pt x="2012967" y="653325"/>
                  <a:pt x="2014358" y="804778"/>
                </a:cubicBezTo>
                <a:cubicBezTo>
                  <a:pt x="2028875" y="866598"/>
                  <a:pt x="1967650" y="927871"/>
                  <a:pt x="1884261" y="934875"/>
                </a:cubicBezTo>
                <a:cubicBezTo>
                  <a:pt x="1741950" y="952247"/>
                  <a:pt x="1484308" y="921097"/>
                  <a:pt x="1352165" y="934875"/>
                </a:cubicBezTo>
                <a:cubicBezTo>
                  <a:pt x="1220022" y="948653"/>
                  <a:pt x="890862" y="955832"/>
                  <a:pt x="767443" y="934875"/>
                </a:cubicBezTo>
                <a:cubicBezTo>
                  <a:pt x="644024" y="913918"/>
                  <a:pt x="389989" y="932293"/>
                  <a:pt x="130097" y="934875"/>
                </a:cubicBezTo>
                <a:cubicBezTo>
                  <a:pt x="55462" y="949605"/>
                  <a:pt x="-95" y="881652"/>
                  <a:pt x="0" y="804778"/>
                </a:cubicBezTo>
                <a:cubicBezTo>
                  <a:pt x="10711" y="483024"/>
                  <a:pt x="-1323" y="332935"/>
                  <a:pt x="0" y="130097"/>
                </a:cubicBezTo>
                <a:close/>
              </a:path>
            </a:pathLst>
          </a:custGeom>
          <a:noFill/>
          <a:ln>
            <a:noFill/>
            <a:extLst>
              <a:ext uri="{C807C97D-BFC1-408E-A445-0C87EB9F89A2}">
                <ask:lineSketchStyleProps xmlns:ask="http://schemas.microsoft.com/office/drawing/2018/sketchyshapes" sd="212724745">
                  <a:prstGeom prst="roundRect">
                    <a:avLst>
                      <a:gd name="adj" fmla="val 13916"/>
                    </a:avLst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rIns="91440" rtlCol="0" anchor="ctr">
            <a:noAutofit/>
          </a:bodyPr>
          <a:lstStyle/>
          <a:p>
            <a:pPr>
              <a:spcAft>
                <a:spcPts val="600"/>
              </a:spcAft>
            </a:pPr>
            <a:r>
              <a:rPr lang="en-US" sz="1100" b="1" dirty="0">
                <a:solidFill>
                  <a:schemeClr val="accent2"/>
                </a:solidFill>
              </a:rPr>
              <a:t>90% </a:t>
            </a:r>
            <a:r>
              <a:rPr lang="en-US" sz="1100" dirty="0">
                <a:solidFill>
                  <a:schemeClr val="tx1"/>
                </a:solidFill>
                <a:latin typeface="+mj-lt"/>
              </a:rPr>
              <a:t>of businesses with a 401(k) say retirement benefits helped drive recruitment</a:t>
            </a:r>
            <a:r>
              <a:rPr lang="en-US" sz="1100" baseline="30000" dirty="0">
                <a:solidFill>
                  <a:schemeClr val="tx1"/>
                </a:solidFill>
                <a:latin typeface="+mj-lt"/>
              </a:rPr>
              <a:t>1</a:t>
            </a:r>
          </a:p>
        </p:txBody>
      </p:sp>
      <p:sp>
        <p:nvSpPr>
          <p:cNvPr id="4" name="Rectangle: Rounded Corners 3">
            <a:extLst>
              <a:ext uri="{FF2B5EF4-FFF2-40B4-BE49-F238E27FC236}">
                <a16:creationId xmlns:a16="http://schemas.microsoft.com/office/drawing/2014/main" id="{C4C3F764-5626-7FB4-7AF6-7A96ECE757DB}"/>
              </a:ext>
            </a:extLst>
          </p:cNvPr>
          <p:cNvSpPr/>
          <p:nvPr/>
        </p:nvSpPr>
        <p:spPr>
          <a:xfrm>
            <a:off x="4639863" y="2639114"/>
            <a:ext cx="2014358" cy="934875"/>
          </a:xfrm>
          <a:custGeom>
            <a:avLst/>
            <a:gdLst>
              <a:gd name="connsiteX0" fmla="*/ 0 w 2014358"/>
              <a:gd name="connsiteY0" fmla="*/ 130097 h 934875"/>
              <a:gd name="connsiteX1" fmla="*/ 130097 w 2014358"/>
              <a:gd name="connsiteY1" fmla="*/ 0 h 934875"/>
              <a:gd name="connsiteX2" fmla="*/ 662193 w 2014358"/>
              <a:gd name="connsiteY2" fmla="*/ 0 h 934875"/>
              <a:gd name="connsiteX3" fmla="*/ 1246915 w 2014358"/>
              <a:gd name="connsiteY3" fmla="*/ 0 h 934875"/>
              <a:gd name="connsiteX4" fmla="*/ 1884261 w 2014358"/>
              <a:gd name="connsiteY4" fmla="*/ 0 h 934875"/>
              <a:gd name="connsiteX5" fmla="*/ 2014358 w 2014358"/>
              <a:gd name="connsiteY5" fmla="*/ 130097 h 934875"/>
              <a:gd name="connsiteX6" fmla="*/ 2014358 w 2014358"/>
              <a:gd name="connsiteY6" fmla="*/ 804778 h 934875"/>
              <a:gd name="connsiteX7" fmla="*/ 1884261 w 2014358"/>
              <a:gd name="connsiteY7" fmla="*/ 934875 h 934875"/>
              <a:gd name="connsiteX8" fmla="*/ 1352165 w 2014358"/>
              <a:gd name="connsiteY8" fmla="*/ 934875 h 934875"/>
              <a:gd name="connsiteX9" fmla="*/ 767443 w 2014358"/>
              <a:gd name="connsiteY9" fmla="*/ 934875 h 934875"/>
              <a:gd name="connsiteX10" fmla="*/ 130097 w 2014358"/>
              <a:gd name="connsiteY10" fmla="*/ 934875 h 934875"/>
              <a:gd name="connsiteX11" fmla="*/ 0 w 2014358"/>
              <a:gd name="connsiteY11" fmla="*/ 804778 h 934875"/>
              <a:gd name="connsiteX12" fmla="*/ 0 w 2014358"/>
              <a:gd name="connsiteY12" fmla="*/ 130097 h 934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014358" h="934875" extrusionOk="0">
                <a:moveTo>
                  <a:pt x="0" y="130097"/>
                </a:moveTo>
                <a:cubicBezTo>
                  <a:pt x="-2405" y="60632"/>
                  <a:pt x="58765" y="-5326"/>
                  <a:pt x="130097" y="0"/>
                </a:cubicBezTo>
                <a:cubicBezTo>
                  <a:pt x="320566" y="-569"/>
                  <a:pt x="434372" y="11745"/>
                  <a:pt x="662193" y="0"/>
                </a:cubicBezTo>
                <a:cubicBezTo>
                  <a:pt x="890014" y="-11745"/>
                  <a:pt x="975247" y="28585"/>
                  <a:pt x="1246915" y="0"/>
                </a:cubicBezTo>
                <a:cubicBezTo>
                  <a:pt x="1518583" y="-28585"/>
                  <a:pt x="1673960" y="-509"/>
                  <a:pt x="1884261" y="0"/>
                </a:cubicBezTo>
                <a:cubicBezTo>
                  <a:pt x="1957900" y="1149"/>
                  <a:pt x="2012608" y="60885"/>
                  <a:pt x="2014358" y="130097"/>
                </a:cubicBezTo>
                <a:cubicBezTo>
                  <a:pt x="1984736" y="446597"/>
                  <a:pt x="2012967" y="653325"/>
                  <a:pt x="2014358" y="804778"/>
                </a:cubicBezTo>
                <a:cubicBezTo>
                  <a:pt x="2028875" y="866598"/>
                  <a:pt x="1967650" y="927871"/>
                  <a:pt x="1884261" y="934875"/>
                </a:cubicBezTo>
                <a:cubicBezTo>
                  <a:pt x="1741950" y="952247"/>
                  <a:pt x="1484308" y="921097"/>
                  <a:pt x="1352165" y="934875"/>
                </a:cubicBezTo>
                <a:cubicBezTo>
                  <a:pt x="1220022" y="948653"/>
                  <a:pt x="890862" y="955832"/>
                  <a:pt x="767443" y="934875"/>
                </a:cubicBezTo>
                <a:cubicBezTo>
                  <a:pt x="644024" y="913918"/>
                  <a:pt x="389989" y="932293"/>
                  <a:pt x="130097" y="934875"/>
                </a:cubicBezTo>
                <a:cubicBezTo>
                  <a:pt x="55462" y="949605"/>
                  <a:pt x="-95" y="881652"/>
                  <a:pt x="0" y="804778"/>
                </a:cubicBezTo>
                <a:cubicBezTo>
                  <a:pt x="10711" y="483024"/>
                  <a:pt x="-1323" y="332935"/>
                  <a:pt x="0" y="130097"/>
                </a:cubicBezTo>
                <a:close/>
              </a:path>
            </a:pathLst>
          </a:custGeom>
          <a:noFill/>
          <a:ln>
            <a:noFill/>
            <a:extLst>
              <a:ext uri="{C807C97D-BFC1-408E-A445-0C87EB9F89A2}">
                <ask:lineSketchStyleProps xmlns:ask="http://schemas.microsoft.com/office/drawing/2018/sketchyshapes" sd="212724745">
                  <a:prstGeom prst="roundRect">
                    <a:avLst>
                      <a:gd name="adj" fmla="val 13916"/>
                    </a:avLst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rIns="91440" rtlCol="0" anchor="ctr">
            <a:noAutofit/>
          </a:bodyPr>
          <a:lstStyle/>
          <a:p>
            <a:pPr>
              <a:spcAft>
                <a:spcPts val="600"/>
              </a:spcAft>
            </a:pPr>
            <a:r>
              <a:rPr lang="en-US" sz="1100" dirty="0">
                <a:solidFill>
                  <a:schemeClr val="tx1"/>
                </a:solidFill>
                <a:latin typeface="+mj-lt"/>
              </a:rPr>
              <a:t>Nearly </a:t>
            </a:r>
            <a:r>
              <a:rPr lang="en-US" sz="1100" b="1" dirty="0">
                <a:solidFill>
                  <a:schemeClr val="accent2"/>
                </a:solidFill>
              </a:rPr>
              <a:t>48% </a:t>
            </a:r>
            <a:r>
              <a:rPr lang="en-US" sz="1100" dirty="0">
                <a:solidFill>
                  <a:schemeClr val="tx1"/>
                </a:solidFill>
                <a:latin typeface="+mj-lt"/>
              </a:rPr>
              <a:t>of small employers doubt their ability to afford a retirement plan, but tax credits can substantially reduce costs</a:t>
            </a:r>
          </a:p>
        </p:txBody>
      </p:sp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3F2AF28D-8532-774E-ABD8-AA396E1C134D}"/>
              </a:ext>
            </a:extLst>
          </p:cNvPr>
          <p:cNvSpPr/>
          <p:nvPr/>
        </p:nvSpPr>
        <p:spPr>
          <a:xfrm>
            <a:off x="4639863" y="3764437"/>
            <a:ext cx="1925059" cy="934875"/>
          </a:xfrm>
          <a:custGeom>
            <a:avLst/>
            <a:gdLst>
              <a:gd name="connsiteX0" fmla="*/ 0 w 1925059"/>
              <a:gd name="connsiteY0" fmla="*/ 130097 h 934875"/>
              <a:gd name="connsiteX1" fmla="*/ 130097 w 1925059"/>
              <a:gd name="connsiteY1" fmla="*/ 0 h 934875"/>
              <a:gd name="connsiteX2" fmla="*/ 635106 w 1925059"/>
              <a:gd name="connsiteY2" fmla="*/ 0 h 934875"/>
              <a:gd name="connsiteX3" fmla="*/ 1190061 w 1925059"/>
              <a:gd name="connsiteY3" fmla="*/ 0 h 934875"/>
              <a:gd name="connsiteX4" fmla="*/ 1794962 w 1925059"/>
              <a:gd name="connsiteY4" fmla="*/ 0 h 934875"/>
              <a:gd name="connsiteX5" fmla="*/ 1925059 w 1925059"/>
              <a:gd name="connsiteY5" fmla="*/ 130097 h 934875"/>
              <a:gd name="connsiteX6" fmla="*/ 1925059 w 1925059"/>
              <a:gd name="connsiteY6" fmla="*/ 804778 h 934875"/>
              <a:gd name="connsiteX7" fmla="*/ 1794962 w 1925059"/>
              <a:gd name="connsiteY7" fmla="*/ 934875 h 934875"/>
              <a:gd name="connsiteX8" fmla="*/ 1289953 w 1925059"/>
              <a:gd name="connsiteY8" fmla="*/ 934875 h 934875"/>
              <a:gd name="connsiteX9" fmla="*/ 734998 w 1925059"/>
              <a:gd name="connsiteY9" fmla="*/ 934875 h 934875"/>
              <a:gd name="connsiteX10" fmla="*/ 130097 w 1925059"/>
              <a:gd name="connsiteY10" fmla="*/ 934875 h 934875"/>
              <a:gd name="connsiteX11" fmla="*/ 0 w 1925059"/>
              <a:gd name="connsiteY11" fmla="*/ 804778 h 934875"/>
              <a:gd name="connsiteX12" fmla="*/ 0 w 1925059"/>
              <a:gd name="connsiteY12" fmla="*/ 130097 h 934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925059" h="934875" extrusionOk="0">
                <a:moveTo>
                  <a:pt x="0" y="130097"/>
                </a:moveTo>
                <a:cubicBezTo>
                  <a:pt x="-2405" y="60632"/>
                  <a:pt x="58765" y="-5326"/>
                  <a:pt x="130097" y="0"/>
                </a:cubicBezTo>
                <a:cubicBezTo>
                  <a:pt x="326831" y="-18249"/>
                  <a:pt x="399193" y="22396"/>
                  <a:pt x="635106" y="0"/>
                </a:cubicBezTo>
                <a:cubicBezTo>
                  <a:pt x="871019" y="-22396"/>
                  <a:pt x="944289" y="12053"/>
                  <a:pt x="1190061" y="0"/>
                </a:cubicBezTo>
                <a:cubicBezTo>
                  <a:pt x="1435833" y="-12053"/>
                  <a:pt x="1632133" y="17284"/>
                  <a:pt x="1794962" y="0"/>
                </a:cubicBezTo>
                <a:cubicBezTo>
                  <a:pt x="1868601" y="1149"/>
                  <a:pt x="1923309" y="60885"/>
                  <a:pt x="1925059" y="130097"/>
                </a:cubicBezTo>
                <a:cubicBezTo>
                  <a:pt x="1895437" y="446597"/>
                  <a:pt x="1923668" y="653325"/>
                  <a:pt x="1925059" y="804778"/>
                </a:cubicBezTo>
                <a:cubicBezTo>
                  <a:pt x="1939576" y="866598"/>
                  <a:pt x="1878351" y="927871"/>
                  <a:pt x="1794962" y="934875"/>
                </a:cubicBezTo>
                <a:cubicBezTo>
                  <a:pt x="1571354" y="931036"/>
                  <a:pt x="1443054" y="916512"/>
                  <a:pt x="1289953" y="934875"/>
                </a:cubicBezTo>
                <a:cubicBezTo>
                  <a:pt x="1136852" y="953238"/>
                  <a:pt x="931712" y="924458"/>
                  <a:pt x="734998" y="934875"/>
                </a:cubicBezTo>
                <a:cubicBezTo>
                  <a:pt x="538285" y="945292"/>
                  <a:pt x="309203" y="952380"/>
                  <a:pt x="130097" y="934875"/>
                </a:cubicBezTo>
                <a:cubicBezTo>
                  <a:pt x="55462" y="949605"/>
                  <a:pt x="-95" y="881652"/>
                  <a:pt x="0" y="804778"/>
                </a:cubicBezTo>
                <a:cubicBezTo>
                  <a:pt x="10711" y="483024"/>
                  <a:pt x="-1323" y="332935"/>
                  <a:pt x="0" y="130097"/>
                </a:cubicBezTo>
                <a:close/>
              </a:path>
            </a:pathLst>
          </a:custGeom>
          <a:noFill/>
          <a:ln>
            <a:noFill/>
            <a:extLst>
              <a:ext uri="{C807C97D-BFC1-408E-A445-0C87EB9F89A2}">
                <ask:lineSketchStyleProps xmlns:ask="http://schemas.microsoft.com/office/drawing/2018/sketchyshapes" sd="212724745">
                  <a:prstGeom prst="roundRect">
                    <a:avLst>
                      <a:gd name="adj" fmla="val 13916"/>
                    </a:avLst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rIns="0" rtlCol="0" anchor="ctr">
            <a:noAutofit/>
          </a:bodyPr>
          <a:lstStyle/>
          <a:p>
            <a:pPr>
              <a:spcAft>
                <a:spcPts val="600"/>
              </a:spcAft>
            </a:pPr>
            <a:r>
              <a:rPr lang="en-US" sz="1100" b="1" dirty="0">
                <a:solidFill>
                  <a:schemeClr val="accent2"/>
                </a:solidFill>
              </a:rPr>
              <a:t>83% </a:t>
            </a:r>
            <a:r>
              <a:rPr lang="en-US" sz="1100" dirty="0">
                <a:solidFill>
                  <a:schemeClr val="tx1"/>
                </a:solidFill>
                <a:latin typeface="+mj-lt"/>
              </a:rPr>
              <a:t>of small business owners know they should be saving more for retirement</a:t>
            </a:r>
            <a:r>
              <a:rPr lang="en-US" sz="1100" baseline="30000" dirty="0">
                <a:solidFill>
                  <a:schemeClr val="tx1"/>
                </a:solidFill>
                <a:latin typeface="+mj-lt"/>
              </a:rPr>
              <a:t>2</a:t>
            </a:r>
            <a:r>
              <a:rPr lang="en-US" sz="1100" dirty="0">
                <a:solidFill>
                  <a:schemeClr val="tx1"/>
                </a:solidFill>
                <a:latin typeface="+mj-lt"/>
              </a:rPr>
              <a:t> </a:t>
            </a:r>
          </a:p>
        </p:txBody>
      </p:sp>
      <p:sp>
        <p:nvSpPr>
          <p:cNvPr id="6" name="Arrow: Pentagon 5">
            <a:extLst>
              <a:ext uri="{FF2B5EF4-FFF2-40B4-BE49-F238E27FC236}">
                <a16:creationId xmlns:a16="http://schemas.microsoft.com/office/drawing/2014/main" id="{6175A0AA-7E8D-95F5-4B84-0FF0A110F5AA}"/>
              </a:ext>
            </a:extLst>
          </p:cNvPr>
          <p:cNvSpPr/>
          <p:nvPr/>
        </p:nvSpPr>
        <p:spPr>
          <a:xfrm>
            <a:off x="0" y="1460608"/>
            <a:ext cx="373138" cy="1051607"/>
          </a:xfrm>
          <a:prstGeom prst="homePlate">
            <a:avLst>
              <a:gd name="adj" fmla="val 56676"/>
            </a:avLst>
          </a:prstGeom>
          <a:solidFill>
            <a:schemeClr val="accent2">
              <a:lumMod val="7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40080" rIns="182880" rtlCol="0" anchor="ctr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rgbClr val="FFFFFF"/>
                </a:solidFill>
                <a:latin typeface="Calibri" panose="020F0502020204030204"/>
              </a:defRPr>
            </a:lvl1pPr>
            <a:lvl2pPr marL="457200" algn="l" defTabSz="914400" rtl="0" eaLnBrk="1" latinLnBrk="0" hangingPunct="1">
              <a:defRPr sz="1800" kern="1200">
                <a:solidFill>
                  <a:srgbClr val="FFFFFF"/>
                </a:solidFill>
                <a:latin typeface="Calibri" panose="020F0502020204030204"/>
              </a:defRPr>
            </a:lvl2pPr>
            <a:lvl3pPr marL="914400" algn="l" defTabSz="914400" rtl="0" eaLnBrk="1" latinLnBrk="0" hangingPunct="1">
              <a:defRPr sz="1800" kern="1200">
                <a:solidFill>
                  <a:srgbClr val="FFFFFF"/>
                </a:solidFill>
                <a:latin typeface="Calibri" panose="020F0502020204030204"/>
              </a:defRPr>
            </a:lvl3pPr>
            <a:lvl4pPr marL="1371600" algn="l" defTabSz="914400" rtl="0" eaLnBrk="1" latinLnBrk="0" hangingPunct="1">
              <a:defRPr sz="1800" kern="1200">
                <a:solidFill>
                  <a:srgbClr val="FFFFFF"/>
                </a:solidFill>
                <a:latin typeface="Calibri" panose="020F0502020204030204"/>
              </a:defRPr>
            </a:lvl4pPr>
            <a:lvl5pPr marL="1828800" algn="l" defTabSz="914400" rtl="0" eaLnBrk="1" latinLnBrk="0" hangingPunct="1">
              <a:defRPr sz="1800" kern="1200">
                <a:solidFill>
                  <a:srgbClr val="FFFFFF"/>
                </a:solidFill>
                <a:latin typeface="Calibri" panose="020F0502020204030204"/>
              </a:defRPr>
            </a:lvl5pPr>
            <a:lvl6pPr marL="2286000" algn="l" defTabSz="914400" rtl="0" eaLnBrk="1" latinLnBrk="0" hangingPunct="1">
              <a:defRPr sz="1800" kern="1200">
                <a:solidFill>
                  <a:srgbClr val="FFFFFF"/>
                </a:solidFill>
                <a:latin typeface="Calibri" panose="020F0502020204030204"/>
              </a:defRPr>
            </a:lvl6pPr>
            <a:lvl7pPr marL="2743200" algn="l" defTabSz="914400" rtl="0" eaLnBrk="1" latinLnBrk="0" hangingPunct="1">
              <a:defRPr sz="1800" kern="1200">
                <a:solidFill>
                  <a:srgbClr val="FFFFFF"/>
                </a:solidFill>
                <a:latin typeface="Calibri" panose="020F0502020204030204"/>
              </a:defRPr>
            </a:lvl7pPr>
            <a:lvl8pPr marL="3200400" algn="l" defTabSz="914400" rtl="0" eaLnBrk="1" latinLnBrk="0" hangingPunct="1">
              <a:defRPr sz="1800" kern="1200">
                <a:solidFill>
                  <a:srgbClr val="FFFFFF"/>
                </a:solidFill>
                <a:latin typeface="Calibri" panose="020F0502020204030204"/>
              </a:defRPr>
            </a:lvl8pPr>
            <a:lvl9pPr marL="3657600" algn="l" defTabSz="914400" rtl="0" eaLnBrk="1" latinLnBrk="0" hangingPunct="1">
              <a:defRPr sz="1800" kern="1200">
                <a:solidFill>
                  <a:srgbClr val="FFFFFF"/>
                </a:solidFill>
                <a:latin typeface="Calibri" panose="020F0502020204030204"/>
              </a:defRPr>
            </a:lvl9pPr>
          </a:lstStyle>
          <a:p>
            <a:endParaRPr lang="en-US" sz="1100" dirty="0">
              <a:solidFill>
                <a:schemeClr val="bg1"/>
              </a:solidFill>
            </a:endParaRPr>
          </a:p>
        </p:txBody>
      </p:sp>
      <p:sp>
        <p:nvSpPr>
          <p:cNvPr id="13" name="Arrow: Pentagon 12">
            <a:extLst>
              <a:ext uri="{FF2B5EF4-FFF2-40B4-BE49-F238E27FC236}">
                <a16:creationId xmlns:a16="http://schemas.microsoft.com/office/drawing/2014/main" id="{E23E695F-8FF4-A0A5-0B3E-E9907AFC3960}"/>
              </a:ext>
            </a:extLst>
          </p:cNvPr>
          <p:cNvSpPr/>
          <p:nvPr/>
        </p:nvSpPr>
        <p:spPr>
          <a:xfrm>
            <a:off x="0" y="3706071"/>
            <a:ext cx="373138" cy="1051607"/>
          </a:xfrm>
          <a:prstGeom prst="homePlate">
            <a:avLst>
              <a:gd name="adj" fmla="val 56676"/>
            </a:avLst>
          </a:prstGeom>
          <a:solidFill>
            <a:schemeClr val="accent2">
              <a:lumMod val="7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40080" rIns="182880" rtlCol="0" anchor="ctr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rgbClr val="FFFFFF"/>
                </a:solidFill>
                <a:latin typeface="Calibri" panose="020F0502020204030204"/>
              </a:defRPr>
            </a:lvl1pPr>
            <a:lvl2pPr marL="457200" algn="l" defTabSz="914400" rtl="0" eaLnBrk="1" latinLnBrk="0" hangingPunct="1">
              <a:defRPr sz="1800" kern="1200">
                <a:solidFill>
                  <a:srgbClr val="FFFFFF"/>
                </a:solidFill>
                <a:latin typeface="Calibri" panose="020F0502020204030204"/>
              </a:defRPr>
            </a:lvl2pPr>
            <a:lvl3pPr marL="914400" algn="l" defTabSz="914400" rtl="0" eaLnBrk="1" latinLnBrk="0" hangingPunct="1">
              <a:defRPr sz="1800" kern="1200">
                <a:solidFill>
                  <a:srgbClr val="FFFFFF"/>
                </a:solidFill>
                <a:latin typeface="Calibri" panose="020F0502020204030204"/>
              </a:defRPr>
            </a:lvl3pPr>
            <a:lvl4pPr marL="1371600" algn="l" defTabSz="914400" rtl="0" eaLnBrk="1" latinLnBrk="0" hangingPunct="1">
              <a:defRPr sz="1800" kern="1200">
                <a:solidFill>
                  <a:srgbClr val="FFFFFF"/>
                </a:solidFill>
                <a:latin typeface="Calibri" panose="020F0502020204030204"/>
              </a:defRPr>
            </a:lvl4pPr>
            <a:lvl5pPr marL="1828800" algn="l" defTabSz="914400" rtl="0" eaLnBrk="1" latinLnBrk="0" hangingPunct="1">
              <a:defRPr sz="1800" kern="1200">
                <a:solidFill>
                  <a:srgbClr val="FFFFFF"/>
                </a:solidFill>
                <a:latin typeface="Calibri" panose="020F0502020204030204"/>
              </a:defRPr>
            </a:lvl5pPr>
            <a:lvl6pPr marL="2286000" algn="l" defTabSz="914400" rtl="0" eaLnBrk="1" latinLnBrk="0" hangingPunct="1">
              <a:defRPr sz="1800" kern="1200">
                <a:solidFill>
                  <a:srgbClr val="FFFFFF"/>
                </a:solidFill>
                <a:latin typeface="Calibri" panose="020F0502020204030204"/>
              </a:defRPr>
            </a:lvl6pPr>
            <a:lvl7pPr marL="2743200" algn="l" defTabSz="914400" rtl="0" eaLnBrk="1" latinLnBrk="0" hangingPunct="1">
              <a:defRPr sz="1800" kern="1200">
                <a:solidFill>
                  <a:srgbClr val="FFFFFF"/>
                </a:solidFill>
                <a:latin typeface="Calibri" panose="020F0502020204030204"/>
              </a:defRPr>
            </a:lvl7pPr>
            <a:lvl8pPr marL="3200400" algn="l" defTabSz="914400" rtl="0" eaLnBrk="1" latinLnBrk="0" hangingPunct="1">
              <a:defRPr sz="1800" kern="1200">
                <a:solidFill>
                  <a:srgbClr val="FFFFFF"/>
                </a:solidFill>
                <a:latin typeface="Calibri" panose="020F0502020204030204"/>
              </a:defRPr>
            </a:lvl8pPr>
            <a:lvl9pPr marL="3657600" algn="l" defTabSz="914400" rtl="0" eaLnBrk="1" latinLnBrk="0" hangingPunct="1">
              <a:defRPr sz="1800" kern="1200">
                <a:solidFill>
                  <a:srgbClr val="FFFFFF"/>
                </a:solidFill>
                <a:latin typeface="Calibri" panose="020F0502020204030204"/>
              </a:defRPr>
            </a:lvl9pPr>
          </a:lstStyle>
          <a:p>
            <a:endParaRPr lang="en-US" sz="1100" dirty="0">
              <a:solidFill>
                <a:schemeClr val="bg1"/>
              </a:solidFill>
            </a:endParaRPr>
          </a:p>
        </p:txBody>
      </p:sp>
      <p:grpSp>
        <p:nvGrpSpPr>
          <p:cNvPr id="1112" name="Group 1111">
            <a:extLst>
              <a:ext uri="{FF2B5EF4-FFF2-40B4-BE49-F238E27FC236}">
                <a16:creationId xmlns:a16="http://schemas.microsoft.com/office/drawing/2014/main" id="{3C22E41A-50C9-9E3A-0F1A-937AA016454D}"/>
              </a:ext>
            </a:extLst>
          </p:cNvPr>
          <p:cNvGrpSpPr/>
          <p:nvPr/>
        </p:nvGrpSpPr>
        <p:grpSpPr>
          <a:xfrm>
            <a:off x="159972" y="1808393"/>
            <a:ext cx="356036" cy="356036"/>
            <a:chOff x="7532203" y="1318361"/>
            <a:chExt cx="456516" cy="456516"/>
          </a:xfrm>
        </p:grpSpPr>
        <p:sp>
          <p:nvSpPr>
            <p:cNvPr id="1113" name="Oval 1112">
              <a:extLst>
                <a:ext uri="{FF2B5EF4-FFF2-40B4-BE49-F238E27FC236}">
                  <a16:creationId xmlns:a16="http://schemas.microsoft.com/office/drawing/2014/main" id="{063250E9-3CED-011E-7B2D-CDFA4FA7D47A}"/>
                </a:ext>
              </a:extLst>
            </p:cNvPr>
            <p:cNvSpPr/>
            <p:nvPr/>
          </p:nvSpPr>
          <p:spPr>
            <a:xfrm>
              <a:off x="7532203" y="1318361"/>
              <a:ext cx="456516" cy="456516"/>
            </a:xfrm>
            <a:prstGeom prst="ellipse">
              <a:avLst/>
            </a:prstGeom>
            <a:solidFill>
              <a:srgbClr val="2D821E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grpSp>
          <p:nvGrpSpPr>
            <p:cNvPr id="1114" name="Group 1113">
              <a:extLst>
                <a:ext uri="{FF2B5EF4-FFF2-40B4-BE49-F238E27FC236}">
                  <a16:creationId xmlns:a16="http://schemas.microsoft.com/office/drawing/2014/main" id="{4C0926AA-E6FB-9DBE-339C-2184A2A93AA1}"/>
                </a:ext>
              </a:extLst>
            </p:cNvPr>
            <p:cNvGrpSpPr/>
            <p:nvPr/>
          </p:nvGrpSpPr>
          <p:grpSpPr>
            <a:xfrm>
              <a:off x="7588373" y="1374531"/>
              <a:ext cx="344176" cy="344176"/>
              <a:chOff x="-983541" y="1291319"/>
              <a:chExt cx="599440" cy="599440"/>
            </a:xfrm>
          </p:grpSpPr>
          <p:sp>
            <p:nvSpPr>
              <p:cNvPr id="1115" name="Freeform 81">
                <a:extLst>
                  <a:ext uri="{FF2B5EF4-FFF2-40B4-BE49-F238E27FC236}">
                    <a16:creationId xmlns:a16="http://schemas.microsoft.com/office/drawing/2014/main" id="{2AB857DB-DC9D-DA5B-C650-14A2721359D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849607" y="1478085"/>
                <a:ext cx="345356" cy="240376"/>
              </a:xfrm>
              <a:custGeom>
                <a:avLst/>
                <a:gdLst>
                  <a:gd name="T0" fmla="*/ 106 w 125"/>
                  <a:gd name="T1" fmla="*/ 0 h 105"/>
                  <a:gd name="T2" fmla="*/ 38 w 125"/>
                  <a:gd name="T3" fmla="*/ 67 h 105"/>
                  <a:gd name="T4" fmla="*/ 19 w 125"/>
                  <a:gd name="T5" fmla="*/ 48 h 105"/>
                  <a:gd name="T6" fmla="*/ 0 w 125"/>
                  <a:gd name="T7" fmla="*/ 67 h 105"/>
                  <a:gd name="T8" fmla="*/ 38 w 125"/>
                  <a:gd name="T9" fmla="*/ 105 h 105"/>
                  <a:gd name="T10" fmla="*/ 125 w 125"/>
                  <a:gd name="T11" fmla="*/ 18 h 105"/>
                  <a:gd name="T12" fmla="*/ 106 w 125"/>
                  <a:gd name="T13" fmla="*/ 0 h 105"/>
                  <a:gd name="connsiteX0" fmla="*/ 1520 w 10000"/>
                  <a:gd name="connsiteY0" fmla="*/ 4571 h 10000"/>
                  <a:gd name="connsiteX1" fmla="*/ 0 w 10000"/>
                  <a:gd name="connsiteY1" fmla="*/ 6381 h 10000"/>
                  <a:gd name="connsiteX2" fmla="*/ 3040 w 10000"/>
                  <a:gd name="connsiteY2" fmla="*/ 10000 h 10000"/>
                  <a:gd name="connsiteX3" fmla="*/ 10000 w 10000"/>
                  <a:gd name="connsiteY3" fmla="*/ 1714 h 10000"/>
                  <a:gd name="connsiteX4" fmla="*/ 8480 w 10000"/>
                  <a:gd name="connsiteY4" fmla="*/ 0 h 10000"/>
                  <a:gd name="connsiteX5" fmla="*/ 3040 w 10000"/>
                  <a:gd name="connsiteY5" fmla="*/ 6381 h 10000"/>
                  <a:gd name="connsiteX6" fmla="*/ 4168 w 10000"/>
                  <a:gd name="connsiteY6" fmla="*/ 7723 h 10000"/>
                  <a:gd name="connsiteX0" fmla="*/ 1520 w 10000"/>
                  <a:gd name="connsiteY0" fmla="*/ 4571 h 10000"/>
                  <a:gd name="connsiteX1" fmla="*/ 0 w 10000"/>
                  <a:gd name="connsiteY1" fmla="*/ 6381 h 10000"/>
                  <a:gd name="connsiteX2" fmla="*/ 3040 w 10000"/>
                  <a:gd name="connsiteY2" fmla="*/ 10000 h 10000"/>
                  <a:gd name="connsiteX3" fmla="*/ 10000 w 10000"/>
                  <a:gd name="connsiteY3" fmla="*/ 1714 h 10000"/>
                  <a:gd name="connsiteX4" fmla="*/ 8480 w 10000"/>
                  <a:gd name="connsiteY4" fmla="*/ 0 h 10000"/>
                  <a:gd name="connsiteX5" fmla="*/ 4168 w 10000"/>
                  <a:gd name="connsiteY5" fmla="*/ 7723 h 10000"/>
                  <a:gd name="connsiteX0" fmla="*/ 1520 w 10000"/>
                  <a:gd name="connsiteY0" fmla="*/ 4571 h 10000"/>
                  <a:gd name="connsiteX1" fmla="*/ 0 w 10000"/>
                  <a:gd name="connsiteY1" fmla="*/ 6381 h 10000"/>
                  <a:gd name="connsiteX2" fmla="*/ 3040 w 10000"/>
                  <a:gd name="connsiteY2" fmla="*/ 10000 h 10000"/>
                  <a:gd name="connsiteX3" fmla="*/ 10000 w 10000"/>
                  <a:gd name="connsiteY3" fmla="*/ 1714 h 10000"/>
                  <a:gd name="connsiteX4" fmla="*/ 8480 w 10000"/>
                  <a:gd name="connsiteY4" fmla="*/ 0 h 10000"/>
                  <a:gd name="connsiteX0" fmla="*/ 0 w 10000"/>
                  <a:gd name="connsiteY0" fmla="*/ 6381 h 10000"/>
                  <a:gd name="connsiteX1" fmla="*/ 3040 w 10000"/>
                  <a:gd name="connsiteY1" fmla="*/ 10000 h 10000"/>
                  <a:gd name="connsiteX2" fmla="*/ 10000 w 10000"/>
                  <a:gd name="connsiteY2" fmla="*/ 1714 h 10000"/>
                  <a:gd name="connsiteX3" fmla="*/ 8480 w 10000"/>
                  <a:gd name="connsiteY3" fmla="*/ 0 h 10000"/>
                  <a:gd name="connsiteX0" fmla="*/ 0 w 10000"/>
                  <a:gd name="connsiteY0" fmla="*/ 4667 h 8286"/>
                  <a:gd name="connsiteX1" fmla="*/ 3040 w 10000"/>
                  <a:gd name="connsiteY1" fmla="*/ 8286 h 8286"/>
                  <a:gd name="connsiteX2" fmla="*/ 10000 w 10000"/>
                  <a:gd name="connsiteY2" fmla="*/ 0 h 82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0000" h="8286">
                    <a:moveTo>
                      <a:pt x="0" y="4667"/>
                    </a:moveTo>
                    <a:lnTo>
                      <a:pt x="3040" y="8286"/>
                    </a:lnTo>
                    <a:lnTo>
                      <a:pt x="10000" y="0"/>
                    </a:lnTo>
                  </a:path>
                </a:pathLst>
              </a:custGeom>
              <a:noFill/>
              <a:ln w="12700" cap="flat">
                <a:solidFill>
                  <a:schemeClr val="bg1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1"/>
              </a:p>
            </p:txBody>
          </p:sp>
          <p:sp>
            <p:nvSpPr>
              <p:cNvPr id="1116" name="Oval 1115">
                <a:extLst>
                  <a:ext uri="{FF2B5EF4-FFF2-40B4-BE49-F238E27FC236}">
                    <a16:creationId xmlns:a16="http://schemas.microsoft.com/office/drawing/2014/main" id="{28E2F9AB-26DA-BCAA-9347-5C795B3778AD}"/>
                  </a:ext>
                </a:extLst>
              </p:cNvPr>
              <p:cNvSpPr/>
              <p:nvPr/>
            </p:nvSpPr>
            <p:spPr>
              <a:xfrm>
                <a:off x="-983541" y="1291319"/>
                <a:ext cx="599440" cy="599440"/>
              </a:xfrm>
              <a:prstGeom prst="ellipse">
                <a:avLst/>
              </a:prstGeom>
              <a:noFill/>
              <a:ln w="12700" cap="rnd">
                <a:solidFill>
                  <a:schemeClr val="bg1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1">
                  <a:solidFill>
                    <a:schemeClr val="tx1"/>
                  </a:solidFill>
                </a:endParaRPr>
              </a:p>
            </p:txBody>
          </p:sp>
        </p:grpSp>
      </p:grpSp>
      <p:grpSp>
        <p:nvGrpSpPr>
          <p:cNvPr id="1122" name="Group 1121">
            <a:extLst>
              <a:ext uri="{FF2B5EF4-FFF2-40B4-BE49-F238E27FC236}">
                <a16:creationId xmlns:a16="http://schemas.microsoft.com/office/drawing/2014/main" id="{A0FC25C1-00AD-2752-ED3D-183D126478CC}"/>
              </a:ext>
            </a:extLst>
          </p:cNvPr>
          <p:cNvGrpSpPr/>
          <p:nvPr/>
        </p:nvGrpSpPr>
        <p:grpSpPr>
          <a:xfrm>
            <a:off x="159972" y="4053856"/>
            <a:ext cx="356036" cy="356036"/>
            <a:chOff x="7532203" y="1318361"/>
            <a:chExt cx="456516" cy="456516"/>
          </a:xfrm>
        </p:grpSpPr>
        <p:sp>
          <p:nvSpPr>
            <p:cNvPr id="1123" name="Oval 1122">
              <a:extLst>
                <a:ext uri="{FF2B5EF4-FFF2-40B4-BE49-F238E27FC236}">
                  <a16:creationId xmlns:a16="http://schemas.microsoft.com/office/drawing/2014/main" id="{F1461966-1801-7F71-B2CF-48F99A5AB047}"/>
                </a:ext>
              </a:extLst>
            </p:cNvPr>
            <p:cNvSpPr/>
            <p:nvPr/>
          </p:nvSpPr>
          <p:spPr>
            <a:xfrm>
              <a:off x="7532203" y="1318361"/>
              <a:ext cx="456516" cy="456516"/>
            </a:xfrm>
            <a:prstGeom prst="ellipse">
              <a:avLst/>
            </a:prstGeom>
            <a:solidFill>
              <a:srgbClr val="2D821E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grpSp>
          <p:nvGrpSpPr>
            <p:cNvPr id="1124" name="Group 1123">
              <a:extLst>
                <a:ext uri="{FF2B5EF4-FFF2-40B4-BE49-F238E27FC236}">
                  <a16:creationId xmlns:a16="http://schemas.microsoft.com/office/drawing/2014/main" id="{E5A1BD26-8579-CBA0-A4B0-DA7B974136EA}"/>
                </a:ext>
              </a:extLst>
            </p:cNvPr>
            <p:cNvGrpSpPr/>
            <p:nvPr/>
          </p:nvGrpSpPr>
          <p:grpSpPr>
            <a:xfrm>
              <a:off x="7588373" y="1374531"/>
              <a:ext cx="344176" cy="344176"/>
              <a:chOff x="-983541" y="1291319"/>
              <a:chExt cx="599440" cy="599440"/>
            </a:xfrm>
          </p:grpSpPr>
          <p:sp>
            <p:nvSpPr>
              <p:cNvPr id="1125" name="Freeform 81">
                <a:extLst>
                  <a:ext uri="{FF2B5EF4-FFF2-40B4-BE49-F238E27FC236}">
                    <a16:creationId xmlns:a16="http://schemas.microsoft.com/office/drawing/2014/main" id="{99EB2C6E-322C-A82D-1C65-5AA0709E5B2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849607" y="1478085"/>
                <a:ext cx="345356" cy="240376"/>
              </a:xfrm>
              <a:custGeom>
                <a:avLst/>
                <a:gdLst>
                  <a:gd name="T0" fmla="*/ 106 w 125"/>
                  <a:gd name="T1" fmla="*/ 0 h 105"/>
                  <a:gd name="T2" fmla="*/ 38 w 125"/>
                  <a:gd name="T3" fmla="*/ 67 h 105"/>
                  <a:gd name="T4" fmla="*/ 19 w 125"/>
                  <a:gd name="T5" fmla="*/ 48 h 105"/>
                  <a:gd name="T6" fmla="*/ 0 w 125"/>
                  <a:gd name="T7" fmla="*/ 67 h 105"/>
                  <a:gd name="T8" fmla="*/ 38 w 125"/>
                  <a:gd name="T9" fmla="*/ 105 h 105"/>
                  <a:gd name="T10" fmla="*/ 125 w 125"/>
                  <a:gd name="T11" fmla="*/ 18 h 105"/>
                  <a:gd name="T12" fmla="*/ 106 w 125"/>
                  <a:gd name="T13" fmla="*/ 0 h 105"/>
                  <a:gd name="connsiteX0" fmla="*/ 1520 w 10000"/>
                  <a:gd name="connsiteY0" fmla="*/ 4571 h 10000"/>
                  <a:gd name="connsiteX1" fmla="*/ 0 w 10000"/>
                  <a:gd name="connsiteY1" fmla="*/ 6381 h 10000"/>
                  <a:gd name="connsiteX2" fmla="*/ 3040 w 10000"/>
                  <a:gd name="connsiteY2" fmla="*/ 10000 h 10000"/>
                  <a:gd name="connsiteX3" fmla="*/ 10000 w 10000"/>
                  <a:gd name="connsiteY3" fmla="*/ 1714 h 10000"/>
                  <a:gd name="connsiteX4" fmla="*/ 8480 w 10000"/>
                  <a:gd name="connsiteY4" fmla="*/ 0 h 10000"/>
                  <a:gd name="connsiteX5" fmla="*/ 3040 w 10000"/>
                  <a:gd name="connsiteY5" fmla="*/ 6381 h 10000"/>
                  <a:gd name="connsiteX6" fmla="*/ 4168 w 10000"/>
                  <a:gd name="connsiteY6" fmla="*/ 7723 h 10000"/>
                  <a:gd name="connsiteX0" fmla="*/ 1520 w 10000"/>
                  <a:gd name="connsiteY0" fmla="*/ 4571 h 10000"/>
                  <a:gd name="connsiteX1" fmla="*/ 0 w 10000"/>
                  <a:gd name="connsiteY1" fmla="*/ 6381 h 10000"/>
                  <a:gd name="connsiteX2" fmla="*/ 3040 w 10000"/>
                  <a:gd name="connsiteY2" fmla="*/ 10000 h 10000"/>
                  <a:gd name="connsiteX3" fmla="*/ 10000 w 10000"/>
                  <a:gd name="connsiteY3" fmla="*/ 1714 h 10000"/>
                  <a:gd name="connsiteX4" fmla="*/ 8480 w 10000"/>
                  <a:gd name="connsiteY4" fmla="*/ 0 h 10000"/>
                  <a:gd name="connsiteX5" fmla="*/ 4168 w 10000"/>
                  <a:gd name="connsiteY5" fmla="*/ 7723 h 10000"/>
                  <a:gd name="connsiteX0" fmla="*/ 1520 w 10000"/>
                  <a:gd name="connsiteY0" fmla="*/ 4571 h 10000"/>
                  <a:gd name="connsiteX1" fmla="*/ 0 w 10000"/>
                  <a:gd name="connsiteY1" fmla="*/ 6381 h 10000"/>
                  <a:gd name="connsiteX2" fmla="*/ 3040 w 10000"/>
                  <a:gd name="connsiteY2" fmla="*/ 10000 h 10000"/>
                  <a:gd name="connsiteX3" fmla="*/ 10000 w 10000"/>
                  <a:gd name="connsiteY3" fmla="*/ 1714 h 10000"/>
                  <a:gd name="connsiteX4" fmla="*/ 8480 w 10000"/>
                  <a:gd name="connsiteY4" fmla="*/ 0 h 10000"/>
                  <a:gd name="connsiteX0" fmla="*/ 0 w 10000"/>
                  <a:gd name="connsiteY0" fmla="*/ 6381 h 10000"/>
                  <a:gd name="connsiteX1" fmla="*/ 3040 w 10000"/>
                  <a:gd name="connsiteY1" fmla="*/ 10000 h 10000"/>
                  <a:gd name="connsiteX2" fmla="*/ 10000 w 10000"/>
                  <a:gd name="connsiteY2" fmla="*/ 1714 h 10000"/>
                  <a:gd name="connsiteX3" fmla="*/ 8480 w 10000"/>
                  <a:gd name="connsiteY3" fmla="*/ 0 h 10000"/>
                  <a:gd name="connsiteX0" fmla="*/ 0 w 10000"/>
                  <a:gd name="connsiteY0" fmla="*/ 4667 h 8286"/>
                  <a:gd name="connsiteX1" fmla="*/ 3040 w 10000"/>
                  <a:gd name="connsiteY1" fmla="*/ 8286 h 8286"/>
                  <a:gd name="connsiteX2" fmla="*/ 10000 w 10000"/>
                  <a:gd name="connsiteY2" fmla="*/ 0 h 82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0000" h="8286">
                    <a:moveTo>
                      <a:pt x="0" y="4667"/>
                    </a:moveTo>
                    <a:lnTo>
                      <a:pt x="3040" y="8286"/>
                    </a:lnTo>
                    <a:lnTo>
                      <a:pt x="10000" y="0"/>
                    </a:lnTo>
                  </a:path>
                </a:pathLst>
              </a:custGeom>
              <a:noFill/>
              <a:ln w="12700" cap="flat">
                <a:solidFill>
                  <a:schemeClr val="bg1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1"/>
              </a:p>
            </p:txBody>
          </p:sp>
          <p:sp>
            <p:nvSpPr>
              <p:cNvPr id="1126" name="Oval 1125">
                <a:extLst>
                  <a:ext uri="{FF2B5EF4-FFF2-40B4-BE49-F238E27FC236}">
                    <a16:creationId xmlns:a16="http://schemas.microsoft.com/office/drawing/2014/main" id="{AC4FFF35-D896-743B-7E71-2584E0A03E5E}"/>
                  </a:ext>
                </a:extLst>
              </p:cNvPr>
              <p:cNvSpPr/>
              <p:nvPr/>
            </p:nvSpPr>
            <p:spPr>
              <a:xfrm>
                <a:off x="-983541" y="1291319"/>
                <a:ext cx="599440" cy="599440"/>
              </a:xfrm>
              <a:prstGeom prst="ellipse">
                <a:avLst/>
              </a:prstGeom>
              <a:noFill/>
              <a:ln w="12700" cap="rnd">
                <a:solidFill>
                  <a:schemeClr val="bg1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1">
                  <a:solidFill>
                    <a:schemeClr val="tx1"/>
                  </a:solidFill>
                </a:endParaRPr>
              </a:p>
            </p:txBody>
          </p:sp>
        </p:grpSp>
      </p:grpSp>
      <p:sp>
        <p:nvSpPr>
          <p:cNvPr id="10" name="Arrow: Pentagon 9">
            <a:extLst>
              <a:ext uri="{FF2B5EF4-FFF2-40B4-BE49-F238E27FC236}">
                <a16:creationId xmlns:a16="http://schemas.microsoft.com/office/drawing/2014/main" id="{BEC8F3D1-F7FB-61A5-EDF6-020ACF5B238C}"/>
              </a:ext>
            </a:extLst>
          </p:cNvPr>
          <p:cNvSpPr/>
          <p:nvPr/>
        </p:nvSpPr>
        <p:spPr>
          <a:xfrm>
            <a:off x="0" y="2583340"/>
            <a:ext cx="373138" cy="1051607"/>
          </a:xfrm>
          <a:prstGeom prst="homePlate">
            <a:avLst>
              <a:gd name="adj" fmla="val 56676"/>
            </a:avLst>
          </a:prstGeom>
          <a:solidFill>
            <a:schemeClr val="accent2">
              <a:lumMod val="7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40080" rIns="182880" rtlCol="0" anchor="ctr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rgbClr val="FFFFFF"/>
                </a:solidFill>
                <a:latin typeface="Calibri" panose="020F0502020204030204"/>
              </a:defRPr>
            </a:lvl1pPr>
            <a:lvl2pPr marL="457200" algn="l" defTabSz="914400" rtl="0" eaLnBrk="1" latinLnBrk="0" hangingPunct="1">
              <a:defRPr sz="1800" kern="1200">
                <a:solidFill>
                  <a:srgbClr val="FFFFFF"/>
                </a:solidFill>
                <a:latin typeface="Calibri" panose="020F0502020204030204"/>
              </a:defRPr>
            </a:lvl2pPr>
            <a:lvl3pPr marL="914400" algn="l" defTabSz="914400" rtl="0" eaLnBrk="1" latinLnBrk="0" hangingPunct="1">
              <a:defRPr sz="1800" kern="1200">
                <a:solidFill>
                  <a:srgbClr val="FFFFFF"/>
                </a:solidFill>
                <a:latin typeface="Calibri" panose="020F0502020204030204"/>
              </a:defRPr>
            </a:lvl3pPr>
            <a:lvl4pPr marL="1371600" algn="l" defTabSz="914400" rtl="0" eaLnBrk="1" latinLnBrk="0" hangingPunct="1">
              <a:defRPr sz="1800" kern="1200">
                <a:solidFill>
                  <a:srgbClr val="FFFFFF"/>
                </a:solidFill>
                <a:latin typeface="Calibri" panose="020F0502020204030204"/>
              </a:defRPr>
            </a:lvl4pPr>
            <a:lvl5pPr marL="1828800" algn="l" defTabSz="914400" rtl="0" eaLnBrk="1" latinLnBrk="0" hangingPunct="1">
              <a:defRPr sz="1800" kern="1200">
                <a:solidFill>
                  <a:srgbClr val="FFFFFF"/>
                </a:solidFill>
                <a:latin typeface="Calibri" panose="020F0502020204030204"/>
              </a:defRPr>
            </a:lvl5pPr>
            <a:lvl6pPr marL="2286000" algn="l" defTabSz="914400" rtl="0" eaLnBrk="1" latinLnBrk="0" hangingPunct="1">
              <a:defRPr sz="1800" kern="1200">
                <a:solidFill>
                  <a:srgbClr val="FFFFFF"/>
                </a:solidFill>
                <a:latin typeface="Calibri" panose="020F0502020204030204"/>
              </a:defRPr>
            </a:lvl6pPr>
            <a:lvl7pPr marL="2743200" algn="l" defTabSz="914400" rtl="0" eaLnBrk="1" latinLnBrk="0" hangingPunct="1">
              <a:defRPr sz="1800" kern="1200">
                <a:solidFill>
                  <a:srgbClr val="FFFFFF"/>
                </a:solidFill>
                <a:latin typeface="Calibri" panose="020F0502020204030204"/>
              </a:defRPr>
            </a:lvl7pPr>
            <a:lvl8pPr marL="3200400" algn="l" defTabSz="914400" rtl="0" eaLnBrk="1" latinLnBrk="0" hangingPunct="1">
              <a:defRPr sz="1800" kern="1200">
                <a:solidFill>
                  <a:srgbClr val="FFFFFF"/>
                </a:solidFill>
                <a:latin typeface="Calibri" panose="020F0502020204030204"/>
              </a:defRPr>
            </a:lvl8pPr>
            <a:lvl9pPr marL="3657600" algn="l" defTabSz="914400" rtl="0" eaLnBrk="1" latinLnBrk="0" hangingPunct="1">
              <a:defRPr sz="1800" kern="1200">
                <a:solidFill>
                  <a:srgbClr val="FFFFFF"/>
                </a:solidFill>
                <a:latin typeface="Calibri" panose="020F0502020204030204"/>
              </a:defRPr>
            </a:lvl9pPr>
          </a:lstStyle>
          <a:p>
            <a:endParaRPr lang="en-US" sz="1100" dirty="0">
              <a:solidFill>
                <a:schemeClr val="bg1"/>
              </a:solidFill>
            </a:endParaRPr>
          </a:p>
        </p:txBody>
      </p:sp>
      <p:grpSp>
        <p:nvGrpSpPr>
          <p:cNvPr id="1117" name="Group 1116">
            <a:extLst>
              <a:ext uri="{FF2B5EF4-FFF2-40B4-BE49-F238E27FC236}">
                <a16:creationId xmlns:a16="http://schemas.microsoft.com/office/drawing/2014/main" id="{7AFF714D-3F61-7ECD-EA74-4D855F03B4FA}"/>
              </a:ext>
            </a:extLst>
          </p:cNvPr>
          <p:cNvGrpSpPr/>
          <p:nvPr/>
        </p:nvGrpSpPr>
        <p:grpSpPr>
          <a:xfrm>
            <a:off x="159972" y="2931125"/>
            <a:ext cx="356036" cy="356036"/>
            <a:chOff x="7532203" y="1318361"/>
            <a:chExt cx="456516" cy="456516"/>
          </a:xfrm>
        </p:grpSpPr>
        <p:sp>
          <p:nvSpPr>
            <p:cNvPr id="1118" name="Oval 1117">
              <a:extLst>
                <a:ext uri="{FF2B5EF4-FFF2-40B4-BE49-F238E27FC236}">
                  <a16:creationId xmlns:a16="http://schemas.microsoft.com/office/drawing/2014/main" id="{27F7DC96-3074-4381-2CEB-D9E0E46C1331}"/>
                </a:ext>
              </a:extLst>
            </p:cNvPr>
            <p:cNvSpPr/>
            <p:nvPr/>
          </p:nvSpPr>
          <p:spPr>
            <a:xfrm>
              <a:off x="7532203" y="1318361"/>
              <a:ext cx="456516" cy="456516"/>
            </a:xfrm>
            <a:prstGeom prst="ellipse">
              <a:avLst/>
            </a:prstGeom>
            <a:solidFill>
              <a:srgbClr val="2D821E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grpSp>
          <p:nvGrpSpPr>
            <p:cNvPr id="1119" name="Group 1118">
              <a:extLst>
                <a:ext uri="{FF2B5EF4-FFF2-40B4-BE49-F238E27FC236}">
                  <a16:creationId xmlns:a16="http://schemas.microsoft.com/office/drawing/2014/main" id="{8428EE86-4C2D-9023-6A13-3C8D31F7824B}"/>
                </a:ext>
              </a:extLst>
            </p:cNvPr>
            <p:cNvGrpSpPr/>
            <p:nvPr/>
          </p:nvGrpSpPr>
          <p:grpSpPr>
            <a:xfrm>
              <a:off x="7588373" y="1374531"/>
              <a:ext cx="344176" cy="344176"/>
              <a:chOff x="-983541" y="1291319"/>
              <a:chExt cx="599440" cy="599440"/>
            </a:xfrm>
          </p:grpSpPr>
          <p:sp>
            <p:nvSpPr>
              <p:cNvPr id="1120" name="Freeform 81">
                <a:extLst>
                  <a:ext uri="{FF2B5EF4-FFF2-40B4-BE49-F238E27FC236}">
                    <a16:creationId xmlns:a16="http://schemas.microsoft.com/office/drawing/2014/main" id="{782A3D11-0A14-0CAC-3E31-75FF4FAEBF2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849607" y="1478085"/>
                <a:ext cx="345356" cy="240376"/>
              </a:xfrm>
              <a:custGeom>
                <a:avLst/>
                <a:gdLst>
                  <a:gd name="T0" fmla="*/ 106 w 125"/>
                  <a:gd name="T1" fmla="*/ 0 h 105"/>
                  <a:gd name="T2" fmla="*/ 38 w 125"/>
                  <a:gd name="T3" fmla="*/ 67 h 105"/>
                  <a:gd name="T4" fmla="*/ 19 w 125"/>
                  <a:gd name="T5" fmla="*/ 48 h 105"/>
                  <a:gd name="T6" fmla="*/ 0 w 125"/>
                  <a:gd name="T7" fmla="*/ 67 h 105"/>
                  <a:gd name="T8" fmla="*/ 38 w 125"/>
                  <a:gd name="T9" fmla="*/ 105 h 105"/>
                  <a:gd name="T10" fmla="*/ 125 w 125"/>
                  <a:gd name="T11" fmla="*/ 18 h 105"/>
                  <a:gd name="T12" fmla="*/ 106 w 125"/>
                  <a:gd name="T13" fmla="*/ 0 h 105"/>
                  <a:gd name="connsiteX0" fmla="*/ 1520 w 10000"/>
                  <a:gd name="connsiteY0" fmla="*/ 4571 h 10000"/>
                  <a:gd name="connsiteX1" fmla="*/ 0 w 10000"/>
                  <a:gd name="connsiteY1" fmla="*/ 6381 h 10000"/>
                  <a:gd name="connsiteX2" fmla="*/ 3040 w 10000"/>
                  <a:gd name="connsiteY2" fmla="*/ 10000 h 10000"/>
                  <a:gd name="connsiteX3" fmla="*/ 10000 w 10000"/>
                  <a:gd name="connsiteY3" fmla="*/ 1714 h 10000"/>
                  <a:gd name="connsiteX4" fmla="*/ 8480 w 10000"/>
                  <a:gd name="connsiteY4" fmla="*/ 0 h 10000"/>
                  <a:gd name="connsiteX5" fmla="*/ 3040 w 10000"/>
                  <a:gd name="connsiteY5" fmla="*/ 6381 h 10000"/>
                  <a:gd name="connsiteX6" fmla="*/ 4168 w 10000"/>
                  <a:gd name="connsiteY6" fmla="*/ 7723 h 10000"/>
                  <a:gd name="connsiteX0" fmla="*/ 1520 w 10000"/>
                  <a:gd name="connsiteY0" fmla="*/ 4571 h 10000"/>
                  <a:gd name="connsiteX1" fmla="*/ 0 w 10000"/>
                  <a:gd name="connsiteY1" fmla="*/ 6381 h 10000"/>
                  <a:gd name="connsiteX2" fmla="*/ 3040 w 10000"/>
                  <a:gd name="connsiteY2" fmla="*/ 10000 h 10000"/>
                  <a:gd name="connsiteX3" fmla="*/ 10000 w 10000"/>
                  <a:gd name="connsiteY3" fmla="*/ 1714 h 10000"/>
                  <a:gd name="connsiteX4" fmla="*/ 8480 w 10000"/>
                  <a:gd name="connsiteY4" fmla="*/ 0 h 10000"/>
                  <a:gd name="connsiteX5" fmla="*/ 4168 w 10000"/>
                  <a:gd name="connsiteY5" fmla="*/ 7723 h 10000"/>
                  <a:gd name="connsiteX0" fmla="*/ 1520 w 10000"/>
                  <a:gd name="connsiteY0" fmla="*/ 4571 h 10000"/>
                  <a:gd name="connsiteX1" fmla="*/ 0 w 10000"/>
                  <a:gd name="connsiteY1" fmla="*/ 6381 h 10000"/>
                  <a:gd name="connsiteX2" fmla="*/ 3040 w 10000"/>
                  <a:gd name="connsiteY2" fmla="*/ 10000 h 10000"/>
                  <a:gd name="connsiteX3" fmla="*/ 10000 w 10000"/>
                  <a:gd name="connsiteY3" fmla="*/ 1714 h 10000"/>
                  <a:gd name="connsiteX4" fmla="*/ 8480 w 10000"/>
                  <a:gd name="connsiteY4" fmla="*/ 0 h 10000"/>
                  <a:gd name="connsiteX0" fmla="*/ 0 w 10000"/>
                  <a:gd name="connsiteY0" fmla="*/ 6381 h 10000"/>
                  <a:gd name="connsiteX1" fmla="*/ 3040 w 10000"/>
                  <a:gd name="connsiteY1" fmla="*/ 10000 h 10000"/>
                  <a:gd name="connsiteX2" fmla="*/ 10000 w 10000"/>
                  <a:gd name="connsiteY2" fmla="*/ 1714 h 10000"/>
                  <a:gd name="connsiteX3" fmla="*/ 8480 w 10000"/>
                  <a:gd name="connsiteY3" fmla="*/ 0 h 10000"/>
                  <a:gd name="connsiteX0" fmla="*/ 0 w 10000"/>
                  <a:gd name="connsiteY0" fmla="*/ 4667 h 8286"/>
                  <a:gd name="connsiteX1" fmla="*/ 3040 w 10000"/>
                  <a:gd name="connsiteY1" fmla="*/ 8286 h 8286"/>
                  <a:gd name="connsiteX2" fmla="*/ 10000 w 10000"/>
                  <a:gd name="connsiteY2" fmla="*/ 0 h 82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0000" h="8286">
                    <a:moveTo>
                      <a:pt x="0" y="4667"/>
                    </a:moveTo>
                    <a:lnTo>
                      <a:pt x="3040" y="8286"/>
                    </a:lnTo>
                    <a:lnTo>
                      <a:pt x="10000" y="0"/>
                    </a:lnTo>
                  </a:path>
                </a:pathLst>
              </a:custGeom>
              <a:noFill/>
              <a:ln w="12700" cap="flat">
                <a:solidFill>
                  <a:schemeClr val="bg1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1"/>
              </a:p>
            </p:txBody>
          </p:sp>
          <p:sp>
            <p:nvSpPr>
              <p:cNvPr id="1121" name="Oval 1120">
                <a:extLst>
                  <a:ext uri="{FF2B5EF4-FFF2-40B4-BE49-F238E27FC236}">
                    <a16:creationId xmlns:a16="http://schemas.microsoft.com/office/drawing/2014/main" id="{A4E4D1EC-84DE-1C0B-04DD-A9CEB6BBB35B}"/>
                  </a:ext>
                </a:extLst>
              </p:cNvPr>
              <p:cNvSpPr/>
              <p:nvPr/>
            </p:nvSpPr>
            <p:spPr>
              <a:xfrm>
                <a:off x="-983541" y="1291319"/>
                <a:ext cx="599440" cy="599440"/>
              </a:xfrm>
              <a:prstGeom prst="ellipse">
                <a:avLst/>
              </a:prstGeom>
              <a:noFill/>
              <a:ln w="12700" cap="rnd">
                <a:solidFill>
                  <a:schemeClr val="bg1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1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79152468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5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42" presetClass="path" presetSubtype="0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1667 -0.00053 L -4.44444E-6 4.72222E-6 " pathEditMode="relative" rAng="0" ptsTypes="AA">
                                      <p:cBhvr>
                                        <p:cTn id="9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83300" y="170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ustom Design">
  <a:themeElements>
    <a:clrScheme name="Fidelity">
      <a:dk1>
        <a:srgbClr val="4C4C4C"/>
      </a:dk1>
      <a:lt1>
        <a:srgbClr val="FFFFFF"/>
      </a:lt1>
      <a:dk2>
        <a:srgbClr val="333F48"/>
      </a:dk2>
      <a:lt2>
        <a:srgbClr val="E6E7E5"/>
      </a:lt2>
      <a:accent1>
        <a:srgbClr val="368727"/>
      </a:accent1>
      <a:accent2>
        <a:srgbClr val="005670"/>
      </a:accent2>
      <a:accent3>
        <a:srgbClr val="009681"/>
      </a:accent3>
      <a:accent4>
        <a:srgbClr val="298FC2"/>
      </a:accent4>
      <a:accent5>
        <a:srgbClr val="6ABF4B"/>
      </a:accent5>
      <a:accent6>
        <a:srgbClr val="B5BD00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 sz="14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 algn="l">
          <a:defRPr sz="1400" dirty="0" err="1" smtClean="0"/>
        </a:defPPr>
      </a:lstStyle>
    </a:txDef>
  </a:objectDefaults>
  <a:extraClrSchemeLst/>
  <a:custClrLst>
    <a:custClr name="PMS 348">
      <a:srgbClr val="118741"/>
    </a:custClr>
    <a:custClr name="PMS 7689">
      <a:srgbClr val="298FC2"/>
    </a:custClr>
    <a:custClr name="OMS 2592">
      <a:srgbClr val="893B90"/>
    </a:custClr>
    <a:custClr name="PMS 206">
      <a:srgbClr val="E30B5C"/>
    </a:custClr>
    <a:custClr name="PMS 144">
      <a:srgbClr val="F98A3C"/>
    </a:custClr>
    <a:custClr name="PMS 166">
      <a:srgbClr val="DE5E06"/>
    </a:custClr>
    <a:custClr name="PMS 116">
      <a:srgbClr val="FFCD00"/>
    </a:custClr>
    <a:custClr name="PMS 390">
      <a:srgbClr val="B5BD00"/>
    </a:custClr>
    <a:custClr name="PMS 5503">
      <a:srgbClr val="94B7BB"/>
    </a:custClr>
    <a:custClr name="PMS 7544">
      <a:srgbClr val="758592"/>
    </a:custClr>
  </a:custClrLst>
  <a:extLst>
    <a:ext uri="{05A4C25C-085E-4340-85A3-A5531E510DB2}">
      <thm15:themeFamily xmlns:thm15="http://schemas.microsoft.com/office/thememl/2012/main" name="WI Toolkit 2022 16x9" id="{1C227CB7-649F-451A-B538-26B02EE20285}" vid="{F569806A-6135-4D11-8621-D0A961A9FEBE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DB06C7C9375735458C15C93657A92D7E" ma:contentTypeVersion="18" ma:contentTypeDescription="Create a new document." ma:contentTypeScope="" ma:versionID="bd87372405513a946dafa377c35f5e2d">
  <xsd:schema xmlns:xsd="http://www.w3.org/2001/XMLSchema" xmlns:xs="http://www.w3.org/2001/XMLSchema" xmlns:p="http://schemas.microsoft.com/office/2006/metadata/properties" xmlns:ns1="6d8ce8cd-5e14-45ac-a4f5-6ddaba613b28" xmlns:ns3="e990a758-f580-41c7-9125-f7deba5b8b3f" targetNamespace="http://schemas.microsoft.com/office/2006/metadata/properties" ma:root="true" ma:fieldsID="0df15156c487f943c49270e763eedd5b" ns1:_="" ns3:_="">
    <xsd:import namespace="6d8ce8cd-5e14-45ac-a4f5-6ddaba613b28"/>
    <xsd:import namespace="e990a758-f580-41c7-9125-f7deba5b8b3f"/>
    <xsd:element name="properties">
      <xsd:complexType>
        <xsd:sequence>
          <xsd:element name="documentManagement">
            <xsd:complexType>
              <xsd:all>
                <xsd:element ref="ns1:Resource" minOccurs="0"/>
                <xsd:element ref="ns1:Description"/>
                <xsd:element ref="ns1:IntendedUse"/>
                <xsd:element ref="ns1:Role"/>
                <xsd:element ref="ns1:E_x002d_Review_x0023_" minOccurs="0"/>
                <xsd:element ref="ns1:Expiration" minOccurs="0"/>
                <xsd:element ref="ns1:MediaServiceMetadata" minOccurs="0"/>
                <xsd:element ref="ns1:MediaServiceFastMetadata" minOccurs="0"/>
                <xsd:element ref="ns1:MediaServiceAutoKeyPoints" minOccurs="0"/>
                <xsd:element ref="ns1:MediaServiceKeyPoints" minOccurs="0"/>
                <xsd:element ref="ns1:MediaServiceDateTaken" minOccurs="0"/>
                <xsd:element ref="ns3:SharedWithUsers" minOccurs="0"/>
                <xsd:element ref="ns3:SharedWithDetails" minOccurs="0"/>
                <xsd:element ref="ns1:SeismicLink" minOccurs="0"/>
                <xsd:element ref="ns1:MediaLengthInSeconds" minOccurs="0"/>
                <xsd:element ref="ns1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d8ce8cd-5e14-45ac-a4f5-6ddaba613b28" elementFormDefault="qualified">
    <xsd:import namespace="http://schemas.microsoft.com/office/2006/documentManagement/types"/>
    <xsd:import namespace="http://schemas.microsoft.com/office/infopath/2007/PartnerControls"/>
    <xsd:element name="Resource" ma:index="0" nillable="true" ma:displayName="Title" ma:format="Dropdown" ma:internalName="Resource" ma:readOnly="false">
      <xsd:simpleType>
        <xsd:restriction base="dms:Text">
          <xsd:maxLength value="255"/>
        </xsd:restriction>
      </xsd:simpleType>
    </xsd:element>
    <xsd:element name="Description" ma:index="2" ma:displayName="Description" ma:format="Dropdown" ma:internalName="Description" ma:readOnly="false">
      <xsd:simpleType>
        <xsd:restriction base="dms:Note"/>
      </xsd:simpleType>
    </xsd:element>
    <xsd:element name="IntendedUse" ma:index="3" ma:displayName="Intended Use" ma:format="Dropdown" ma:internalName="IntendedUse" ma:readOnly="false">
      <xsd:simpleType>
        <xsd:restriction base="dms:Text">
          <xsd:maxLength value="255"/>
        </xsd:restriction>
      </xsd:simpleType>
    </xsd:element>
    <xsd:element name="Role" ma:index="4" ma:displayName="Audience" ma:format="Dropdown" ma:internalName="Role">
      <xsd:simpleType>
        <xsd:restriction base="dms:Text">
          <xsd:maxLength value="255"/>
        </xsd:restriction>
      </xsd:simpleType>
    </xsd:element>
    <xsd:element name="E_x002d_Review_x0023_" ma:index="5" nillable="true" ma:displayName="E-Review #" ma:format="Dropdown" ma:internalName="E_x002d_Review_x0023_" ma:readOnly="false">
      <xsd:simpleType>
        <xsd:restriction base="dms:Text">
          <xsd:maxLength value="255"/>
        </xsd:restriction>
      </xsd:simpleType>
    </xsd:element>
    <xsd:element name="Expiration" ma:index="6" nillable="true" ma:displayName="Expiration" ma:format="Dropdown" ma:internalName="Expiration" ma:readOnly="false">
      <xsd:simpleType>
        <xsd:restriction base="dms:Text">
          <xsd:maxLength value="255"/>
        </xsd:restriction>
      </xsd:simpleType>
    </xsd:element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2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3" nillable="true" ma:displayName="KeyPoints" ma:hidden="true" ma:internalName="MediaServiceKeyPoints" ma:readOnly="true">
      <xsd:simpleType>
        <xsd:restriction base="dms:Note"/>
      </xsd:simpleType>
    </xsd:element>
    <xsd:element name="MediaServiceDateTaken" ma:index="18" nillable="true" ma:displayName="MediaServiceDateTaken" ma:hidden="true" ma:internalName="MediaServiceDateTaken" ma:readOnly="true">
      <xsd:simpleType>
        <xsd:restriction base="dms:Text"/>
      </xsd:simpleType>
    </xsd:element>
    <xsd:element name="SeismicLink" ma:index="21" nillable="true" ma:displayName="Seismic Link" ma:format="Dropdown" ma:internalName="SeismicLink">
      <xsd:simpleType>
        <xsd:restriction base="dms:Text">
          <xsd:maxLength value="255"/>
        </xsd:restriction>
      </xsd:simpleType>
    </xsd:element>
    <xsd:element name="MediaLengthInSeconds" ma:index="22" nillable="true" ma:displayName="MediaLengthInSeconds" ma:hidden="true" ma:internalName="MediaLengthInSeconds" ma:readOnly="true">
      <xsd:simpleType>
        <xsd:restriction base="dms:Unknown"/>
      </xsd:simpleType>
    </xsd:element>
    <xsd:element name="MediaServiceObjectDetectorVersions" ma:index="23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990a758-f580-41c7-9125-f7deba5b8b3f" elementFormDefault="qualified">
    <xsd:import namespace="http://schemas.microsoft.com/office/2006/documentManagement/types"/>
    <xsd:import namespace="http://schemas.microsoft.com/office/infopath/2007/PartnerControls"/>
    <xsd:element name="SharedWithUsers" ma:index="19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20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displayName="Content Type"/>
        <xsd:element ref="dc:title" minOccurs="0" maxOccurs="1" ma:displayName="Leave Blank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e990a758-f580-41c7-9125-f7deba5b8b3f">
      <UserInfo>
        <DisplayName/>
        <AccountId xsi:nil="true"/>
        <AccountType/>
      </UserInfo>
    </SharedWithUsers>
    <E_x002d_Review_x0023_ xmlns="6d8ce8cd-5e14-45ac-a4f5-6ddaba613b28">1108205.1.0</E_x002d_Review_x0023_>
    <Expiration xmlns="6d8ce8cd-5e14-45ac-a4f5-6ddaba613b28">September, 2023</Expiration>
    <Role xmlns="6d8ce8cd-5e14-45ac-a4f5-6ddaba613b28">Professionals working with SMBs</Role>
    <Resource xmlns="6d8ce8cd-5e14-45ac-a4f5-6ddaba613b28">Reasons to Talk to SMBs about Retirement</Resource>
    <Description xmlns="6d8ce8cd-5e14-45ac-a4f5-6ddaba613b28"/>
    <IntendedUse xmlns="6d8ce8cd-5e14-45ac-a4f5-6ddaba613b28">Education &amp; Partner Value</IntendedUse>
    <SeismicLink xmlns="6d8ce8cd-5e14-45ac-a4f5-6ddaba613b28" xsi:nil="true"/>
  </documentManagement>
</p:properties>
</file>

<file path=customXml/itemProps1.xml><?xml version="1.0" encoding="utf-8"?>
<ds:datastoreItem xmlns:ds="http://schemas.openxmlformats.org/officeDocument/2006/customXml" ds:itemID="{4BD07FAB-EA92-4310-85B9-A857C06F24A2}"/>
</file>

<file path=customXml/itemProps2.xml><?xml version="1.0" encoding="utf-8"?>
<ds:datastoreItem xmlns:ds="http://schemas.openxmlformats.org/officeDocument/2006/customXml" ds:itemID="{72D41AB9-041E-4AEC-9C36-A307F625B74B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F07007DF-4D0E-40C5-B667-44DDBD37496F}">
  <ds:schemaRefs>
    <ds:schemaRef ds:uri="731989eb-7121-409c-871c-8f2366272918"/>
    <ds:schemaRef ds:uri="a5bf85ab-5b89-45d5-812d-d881043611a5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WI Toolkit 2022 16x9</Template>
  <TotalTime>991</TotalTime>
  <Words>380</Words>
  <Application>Microsoft Office PowerPoint</Application>
  <PresentationFormat>Letter Paper (8.5x11 in)</PresentationFormat>
  <Paragraphs>31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Arial</vt:lpstr>
      <vt:lpstr>Calibri</vt:lpstr>
      <vt:lpstr>Calibri Light</vt:lpstr>
      <vt:lpstr>Fidelity Sans</vt:lpstr>
      <vt:lpstr>Custom Design</vt:lpstr>
      <vt:lpstr>think-cell Slide</vt:lpstr>
      <vt:lpstr>PowerPoint Presentation</vt:lpstr>
    </vt:vector>
  </TitlesOfParts>
  <Company>Fidelity Investments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Fargiano, Amanda</dc:creator>
  <cp:lastModifiedBy>Kelly, Marianna</cp:lastModifiedBy>
  <cp:revision>11</cp:revision>
  <dcterms:created xsi:type="dcterms:W3CDTF">2023-09-06T15:23:30Z</dcterms:created>
  <dcterms:modified xsi:type="dcterms:W3CDTF">2023-09-21T15:50:1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DB06C7C9375735458C15C93657A92D7E</vt:lpwstr>
  </property>
  <property fmtid="{D5CDD505-2E9C-101B-9397-08002B2CF9AE}" pid="3" name="MediaServiceImageTags">
    <vt:lpwstr/>
  </property>
</Properties>
</file>